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09" r:id="rId4"/>
    <p:sldMasterId id="2147484137" r:id="rId5"/>
    <p:sldMasterId id="2147484142" r:id="rId6"/>
    <p:sldMasterId id="2147484154" r:id="rId7"/>
  </p:sldMasterIdLst>
  <p:notesMasterIdLst>
    <p:notesMasterId r:id="rId19"/>
  </p:notesMasterIdLst>
  <p:handoutMasterIdLst>
    <p:handoutMasterId r:id="rId20"/>
  </p:handoutMasterIdLst>
  <p:sldIdLst>
    <p:sldId id="844" r:id="rId8"/>
    <p:sldId id="838" r:id="rId9"/>
    <p:sldId id="870" r:id="rId10"/>
    <p:sldId id="871" r:id="rId11"/>
    <p:sldId id="661" r:id="rId12"/>
    <p:sldId id="655" r:id="rId13"/>
    <p:sldId id="845" r:id="rId14"/>
    <p:sldId id="869" r:id="rId15"/>
    <p:sldId id="872" r:id="rId16"/>
    <p:sldId id="855" r:id="rId17"/>
    <p:sldId id="275" r:id="rId1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C1AD"/>
    <a:srgbClr val="000000"/>
    <a:srgbClr val="F8F8F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inimized">
    <p:restoredLeft sz="25967" autoAdjust="0"/>
    <p:restoredTop sz="26510" autoAdjust="0"/>
  </p:normalViewPr>
  <p:slideViewPr>
    <p:cSldViewPr snapToGrid="0" snapToObjects="1">
      <p:cViewPr varScale="1">
        <p:scale>
          <a:sx n="16" d="100"/>
          <a:sy n="16" d="100"/>
        </p:scale>
        <p:origin x="2168" y="1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145" d="100"/>
          <a:sy n="145" d="100"/>
        </p:scale>
        <p:origin x="4536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4450C73-8623-4621-BA4C-C9F470572CD1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F9E4762C-B27C-4912-BED3-8C2D9B37506D}">
      <dgm:prSet phldrT="[Tekst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>
            <a:lumMod val="50000"/>
            <a:alpha val="50000"/>
          </a:schemeClr>
        </a:solidFill>
        <a:ln>
          <a:solidFill>
            <a:schemeClr val="accent2">
              <a:lumMod val="50000"/>
            </a:schemeClr>
          </a:solidFill>
        </a:ln>
      </dgm:spPr>
      <dgm:t>
        <a:bodyPr/>
        <a:lstStyle/>
        <a:p>
          <a:r>
            <a:rPr lang="nb-NO" sz="2000" b="1" dirty="0"/>
            <a:t>Samhandling</a:t>
          </a:r>
          <a:endParaRPr lang="nb-NO" sz="1600" b="1" dirty="0"/>
        </a:p>
      </dgm:t>
    </dgm:pt>
    <dgm:pt modelId="{9D793C8C-6C56-47FC-B90C-8F3DC55766F0}" type="parTrans" cxnId="{4CF5F10B-FE49-4C00-935D-7B314559EE03}">
      <dgm:prSet/>
      <dgm:spPr/>
      <dgm:t>
        <a:bodyPr/>
        <a:lstStyle/>
        <a:p>
          <a:endParaRPr lang="nb-NO"/>
        </a:p>
      </dgm:t>
    </dgm:pt>
    <dgm:pt modelId="{8245C652-C0F6-4245-9AE6-C4F7B8CC127A}" type="sibTrans" cxnId="{4CF5F10B-FE49-4C00-935D-7B314559EE03}">
      <dgm:prSet/>
      <dgm:spPr>
        <a:solidFill>
          <a:schemeClr val="accent6">
            <a:lumMod val="50000"/>
          </a:schemeClr>
        </a:solidFill>
      </dgm:spPr>
      <dgm:t>
        <a:bodyPr/>
        <a:lstStyle/>
        <a:p>
          <a:endParaRPr lang="nb-NO"/>
        </a:p>
      </dgm:t>
    </dgm:pt>
    <dgm:pt modelId="{CA98B104-10D4-46E7-A590-52184332CB3D}">
      <dgm:prSet phldrT="[Tekst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>
            <a:lumMod val="50000"/>
            <a:alpha val="50000"/>
          </a:schemeClr>
        </a:solidFill>
        <a:ln>
          <a:solidFill>
            <a:schemeClr val="accent2">
              <a:lumMod val="50000"/>
            </a:schemeClr>
          </a:solidFill>
        </a:ln>
      </dgm:spPr>
      <dgm:t>
        <a:bodyPr/>
        <a:lstStyle/>
        <a:p>
          <a:r>
            <a:rPr lang="nb-NO" sz="1800" b="1" dirty="0"/>
            <a:t>Kunnskap</a:t>
          </a:r>
          <a:endParaRPr lang="nb-NO" sz="1600" b="1" dirty="0"/>
        </a:p>
      </dgm:t>
    </dgm:pt>
    <dgm:pt modelId="{2320CE54-3C2A-4338-A58C-E9607D7D94C2}" type="parTrans" cxnId="{951B15C0-B5FB-4AB5-B88C-A05F2A1D1BD0}">
      <dgm:prSet/>
      <dgm:spPr/>
      <dgm:t>
        <a:bodyPr/>
        <a:lstStyle/>
        <a:p>
          <a:endParaRPr lang="nb-NO"/>
        </a:p>
      </dgm:t>
    </dgm:pt>
    <dgm:pt modelId="{ED9CB5A9-5F09-4D4D-B40A-D35EB3EC3A99}" type="sibTrans" cxnId="{951B15C0-B5FB-4AB5-B88C-A05F2A1D1BD0}">
      <dgm:prSet/>
      <dgm:spPr>
        <a:solidFill>
          <a:schemeClr val="accent6">
            <a:lumMod val="50000"/>
          </a:schemeClr>
        </a:solidFill>
      </dgm:spPr>
      <dgm:t>
        <a:bodyPr/>
        <a:lstStyle/>
        <a:p>
          <a:endParaRPr lang="nb-NO"/>
        </a:p>
      </dgm:t>
    </dgm:pt>
    <dgm:pt modelId="{08674876-F046-44C8-BE0E-15F4736F2482}">
      <dgm:prSet phldrT="[Tekst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tx1">
            <a:lumMod val="75000"/>
            <a:alpha val="50000"/>
          </a:schemeClr>
        </a:solidFill>
        <a:ln>
          <a:solidFill>
            <a:schemeClr val="accent2">
              <a:lumMod val="50000"/>
            </a:schemeClr>
          </a:solidFill>
        </a:ln>
      </dgm:spPr>
      <dgm:t>
        <a:bodyPr/>
        <a:lstStyle/>
        <a:p>
          <a:r>
            <a:rPr lang="nb-NO" sz="1800" b="1" dirty="0"/>
            <a:t>Løsninger</a:t>
          </a:r>
          <a:endParaRPr lang="nb-NO" sz="1600" b="1" dirty="0"/>
        </a:p>
      </dgm:t>
    </dgm:pt>
    <dgm:pt modelId="{2181BC95-296D-4268-B0F3-ED616A5D7132}" type="parTrans" cxnId="{1E6F43B3-4A40-4723-AB54-0D84844568C3}">
      <dgm:prSet/>
      <dgm:spPr/>
      <dgm:t>
        <a:bodyPr/>
        <a:lstStyle/>
        <a:p>
          <a:endParaRPr lang="nb-NO"/>
        </a:p>
      </dgm:t>
    </dgm:pt>
    <dgm:pt modelId="{9884B5CB-5A36-4E27-9B07-0FB5ADCF9712}" type="sibTrans" cxnId="{1E6F43B3-4A40-4723-AB54-0D84844568C3}">
      <dgm:prSet/>
      <dgm:spPr>
        <a:solidFill>
          <a:schemeClr val="accent6">
            <a:lumMod val="50000"/>
          </a:schemeClr>
        </a:solidFill>
      </dgm:spPr>
      <dgm:t>
        <a:bodyPr/>
        <a:lstStyle/>
        <a:p>
          <a:endParaRPr lang="nb-NO"/>
        </a:p>
      </dgm:t>
    </dgm:pt>
    <dgm:pt modelId="{B3E789B9-B955-4C74-836B-8319FF5AC969}" type="pres">
      <dgm:prSet presAssocID="{14450C73-8623-4621-BA4C-C9F470572CD1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3D4219C-2AAC-479E-8043-03E5486F086F}" type="pres">
      <dgm:prSet presAssocID="{F9E4762C-B27C-4912-BED3-8C2D9B37506D}" presName="gear1" presStyleLbl="node1" presStyleIdx="0" presStyleCnt="3">
        <dgm:presLayoutVars>
          <dgm:chMax val="1"/>
          <dgm:bulletEnabled val="1"/>
        </dgm:presLayoutVars>
      </dgm:prSet>
      <dgm:spPr/>
    </dgm:pt>
    <dgm:pt modelId="{5DA9E029-EA80-4F50-A36D-EEF76463D649}" type="pres">
      <dgm:prSet presAssocID="{F9E4762C-B27C-4912-BED3-8C2D9B37506D}" presName="gear1srcNode" presStyleLbl="node1" presStyleIdx="0" presStyleCnt="3"/>
      <dgm:spPr/>
    </dgm:pt>
    <dgm:pt modelId="{E11A638B-1179-427A-8C77-211513585963}" type="pres">
      <dgm:prSet presAssocID="{F9E4762C-B27C-4912-BED3-8C2D9B37506D}" presName="gear1dstNode" presStyleLbl="node1" presStyleIdx="0" presStyleCnt="3"/>
      <dgm:spPr/>
    </dgm:pt>
    <dgm:pt modelId="{93C05C28-E2AA-4894-9CE4-2AD21305BBA2}" type="pres">
      <dgm:prSet presAssocID="{CA98B104-10D4-46E7-A590-52184332CB3D}" presName="gear2" presStyleLbl="node1" presStyleIdx="1" presStyleCnt="3" custScaleX="107810" custScaleY="106387" custLinFactNeighborX="-16967" custLinFactNeighborY="-6824">
        <dgm:presLayoutVars>
          <dgm:chMax val="1"/>
          <dgm:bulletEnabled val="1"/>
        </dgm:presLayoutVars>
      </dgm:prSet>
      <dgm:spPr/>
    </dgm:pt>
    <dgm:pt modelId="{94DD845C-17C2-4DDF-90F2-F6ABB9245FC1}" type="pres">
      <dgm:prSet presAssocID="{CA98B104-10D4-46E7-A590-52184332CB3D}" presName="gear2srcNode" presStyleLbl="node1" presStyleIdx="1" presStyleCnt="3"/>
      <dgm:spPr/>
    </dgm:pt>
    <dgm:pt modelId="{DE349B7C-8ABE-4953-A85E-19BEF52C72AB}" type="pres">
      <dgm:prSet presAssocID="{CA98B104-10D4-46E7-A590-52184332CB3D}" presName="gear2dstNode" presStyleLbl="node1" presStyleIdx="1" presStyleCnt="3"/>
      <dgm:spPr/>
    </dgm:pt>
    <dgm:pt modelId="{C1DD0490-EEBE-495D-ADBC-31C7700F4135}" type="pres">
      <dgm:prSet presAssocID="{08674876-F046-44C8-BE0E-15F4736F2482}" presName="gear3" presStyleLbl="node1" presStyleIdx="2" presStyleCnt="3" custLinFactNeighborX="9866" custLinFactNeighborY="18569"/>
      <dgm:spPr/>
    </dgm:pt>
    <dgm:pt modelId="{CE27D32D-E294-463B-A135-5E79F82B7A1E}" type="pres">
      <dgm:prSet presAssocID="{08674876-F046-44C8-BE0E-15F4736F2482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7AC9230F-82BC-49CD-A6C4-583779861723}" type="pres">
      <dgm:prSet presAssocID="{08674876-F046-44C8-BE0E-15F4736F2482}" presName="gear3srcNode" presStyleLbl="node1" presStyleIdx="2" presStyleCnt="3"/>
      <dgm:spPr/>
    </dgm:pt>
    <dgm:pt modelId="{D6109388-2C72-4749-A97D-EE4665126D94}" type="pres">
      <dgm:prSet presAssocID="{08674876-F046-44C8-BE0E-15F4736F2482}" presName="gear3dstNode" presStyleLbl="node1" presStyleIdx="2" presStyleCnt="3"/>
      <dgm:spPr/>
    </dgm:pt>
    <dgm:pt modelId="{345D5B5D-5538-416B-BB40-9D3C2F36D524}" type="pres">
      <dgm:prSet presAssocID="{8245C652-C0F6-4245-9AE6-C4F7B8CC127A}" presName="connector1" presStyleLbl="sibTrans2D1" presStyleIdx="0" presStyleCnt="3" custAng="1292675" custScaleX="101196" custScaleY="102962"/>
      <dgm:spPr/>
    </dgm:pt>
    <dgm:pt modelId="{A5EECD92-6370-424C-BA29-8C00E2E253A7}" type="pres">
      <dgm:prSet presAssocID="{ED9CB5A9-5F09-4D4D-B40A-D35EB3EC3A99}" presName="connector2" presStyleLbl="sibTrans2D1" presStyleIdx="1" presStyleCnt="3" custLinFactNeighborX="-16137" custLinFactNeighborY="-4022"/>
      <dgm:spPr/>
    </dgm:pt>
    <dgm:pt modelId="{E73FE1B6-77DF-4DCB-A271-985030EE7131}" type="pres">
      <dgm:prSet presAssocID="{9884B5CB-5A36-4E27-9B07-0FB5ADCF9712}" presName="connector3" presStyleLbl="sibTrans2D1" presStyleIdx="2" presStyleCnt="3" custAng="1430829" custLinFactNeighborX="10564" custLinFactNeighborY="12434"/>
      <dgm:spPr/>
    </dgm:pt>
  </dgm:ptLst>
  <dgm:cxnLst>
    <dgm:cxn modelId="{30F45F02-ACFC-4664-B2AC-C15B0BC74C4F}" type="presOf" srcId="{08674876-F046-44C8-BE0E-15F4736F2482}" destId="{C1DD0490-EEBE-495D-ADBC-31C7700F4135}" srcOrd="0" destOrd="0" presId="urn:microsoft.com/office/officeart/2005/8/layout/gear1"/>
    <dgm:cxn modelId="{9AC5CF04-D5E3-4411-A97A-E153A840EC76}" type="presOf" srcId="{CA98B104-10D4-46E7-A590-52184332CB3D}" destId="{93C05C28-E2AA-4894-9CE4-2AD21305BBA2}" srcOrd="0" destOrd="0" presId="urn:microsoft.com/office/officeart/2005/8/layout/gear1"/>
    <dgm:cxn modelId="{E7E5CC09-67D3-47DB-AF44-297B3CF2F417}" type="presOf" srcId="{08674876-F046-44C8-BE0E-15F4736F2482}" destId="{CE27D32D-E294-463B-A135-5E79F82B7A1E}" srcOrd="1" destOrd="0" presId="urn:microsoft.com/office/officeart/2005/8/layout/gear1"/>
    <dgm:cxn modelId="{4CF5F10B-FE49-4C00-935D-7B314559EE03}" srcId="{14450C73-8623-4621-BA4C-C9F470572CD1}" destId="{F9E4762C-B27C-4912-BED3-8C2D9B37506D}" srcOrd="0" destOrd="0" parTransId="{9D793C8C-6C56-47FC-B90C-8F3DC55766F0}" sibTransId="{8245C652-C0F6-4245-9AE6-C4F7B8CC127A}"/>
    <dgm:cxn modelId="{792DFB10-3062-4209-9BF2-8E3CF6485BFD}" type="presOf" srcId="{9884B5CB-5A36-4E27-9B07-0FB5ADCF9712}" destId="{E73FE1B6-77DF-4DCB-A271-985030EE7131}" srcOrd="0" destOrd="0" presId="urn:microsoft.com/office/officeart/2005/8/layout/gear1"/>
    <dgm:cxn modelId="{99A00C6F-C557-4E94-ABD7-9CE8D0338958}" type="presOf" srcId="{CA98B104-10D4-46E7-A590-52184332CB3D}" destId="{DE349B7C-8ABE-4953-A85E-19BEF52C72AB}" srcOrd="2" destOrd="0" presId="urn:microsoft.com/office/officeart/2005/8/layout/gear1"/>
    <dgm:cxn modelId="{7C21E973-CA23-4F9D-A49C-5D3D57C2CD33}" type="presOf" srcId="{8245C652-C0F6-4245-9AE6-C4F7B8CC127A}" destId="{345D5B5D-5538-416B-BB40-9D3C2F36D524}" srcOrd="0" destOrd="0" presId="urn:microsoft.com/office/officeart/2005/8/layout/gear1"/>
    <dgm:cxn modelId="{47AE6E85-A978-406F-9F89-FDA43BB4555B}" type="presOf" srcId="{08674876-F046-44C8-BE0E-15F4736F2482}" destId="{D6109388-2C72-4749-A97D-EE4665126D94}" srcOrd="3" destOrd="0" presId="urn:microsoft.com/office/officeart/2005/8/layout/gear1"/>
    <dgm:cxn modelId="{7E3C7286-5633-42AE-9A43-1272E0B57D3A}" type="presOf" srcId="{14450C73-8623-4621-BA4C-C9F470572CD1}" destId="{B3E789B9-B955-4C74-836B-8319FF5AC969}" srcOrd="0" destOrd="0" presId="urn:microsoft.com/office/officeart/2005/8/layout/gear1"/>
    <dgm:cxn modelId="{0518228A-2C86-424C-ADCD-3FB697B1B771}" type="presOf" srcId="{ED9CB5A9-5F09-4D4D-B40A-D35EB3EC3A99}" destId="{A5EECD92-6370-424C-BA29-8C00E2E253A7}" srcOrd="0" destOrd="0" presId="urn:microsoft.com/office/officeart/2005/8/layout/gear1"/>
    <dgm:cxn modelId="{E3B448A9-5BCE-4CF2-B6B6-66F52C1B828E}" type="presOf" srcId="{CA98B104-10D4-46E7-A590-52184332CB3D}" destId="{94DD845C-17C2-4DDF-90F2-F6ABB9245FC1}" srcOrd="1" destOrd="0" presId="urn:microsoft.com/office/officeart/2005/8/layout/gear1"/>
    <dgm:cxn modelId="{1E6F43B3-4A40-4723-AB54-0D84844568C3}" srcId="{14450C73-8623-4621-BA4C-C9F470572CD1}" destId="{08674876-F046-44C8-BE0E-15F4736F2482}" srcOrd="2" destOrd="0" parTransId="{2181BC95-296D-4268-B0F3-ED616A5D7132}" sibTransId="{9884B5CB-5A36-4E27-9B07-0FB5ADCF9712}"/>
    <dgm:cxn modelId="{061822BE-E7C4-4481-88D1-52355A328C23}" type="presOf" srcId="{F9E4762C-B27C-4912-BED3-8C2D9B37506D}" destId="{E11A638B-1179-427A-8C77-211513585963}" srcOrd="2" destOrd="0" presId="urn:microsoft.com/office/officeart/2005/8/layout/gear1"/>
    <dgm:cxn modelId="{951B15C0-B5FB-4AB5-B88C-A05F2A1D1BD0}" srcId="{14450C73-8623-4621-BA4C-C9F470572CD1}" destId="{CA98B104-10D4-46E7-A590-52184332CB3D}" srcOrd="1" destOrd="0" parTransId="{2320CE54-3C2A-4338-A58C-E9607D7D94C2}" sibTransId="{ED9CB5A9-5F09-4D4D-B40A-D35EB3EC3A99}"/>
    <dgm:cxn modelId="{BE33B2C8-D254-4517-9679-E2175EB681C6}" type="presOf" srcId="{F9E4762C-B27C-4912-BED3-8C2D9B37506D}" destId="{53D4219C-2AAC-479E-8043-03E5486F086F}" srcOrd="0" destOrd="0" presId="urn:microsoft.com/office/officeart/2005/8/layout/gear1"/>
    <dgm:cxn modelId="{DBA51BCB-FB30-49ED-9182-8AD4C491EC64}" type="presOf" srcId="{08674876-F046-44C8-BE0E-15F4736F2482}" destId="{7AC9230F-82BC-49CD-A6C4-583779861723}" srcOrd="2" destOrd="0" presId="urn:microsoft.com/office/officeart/2005/8/layout/gear1"/>
    <dgm:cxn modelId="{ADBC95F9-6226-4D66-BA07-435A99F2AD21}" type="presOf" srcId="{F9E4762C-B27C-4912-BED3-8C2D9B37506D}" destId="{5DA9E029-EA80-4F50-A36D-EEF76463D649}" srcOrd="1" destOrd="0" presId="urn:microsoft.com/office/officeart/2005/8/layout/gear1"/>
    <dgm:cxn modelId="{781C84FD-3ACB-411A-90E9-E9109FB81148}" type="presParOf" srcId="{B3E789B9-B955-4C74-836B-8319FF5AC969}" destId="{53D4219C-2AAC-479E-8043-03E5486F086F}" srcOrd="0" destOrd="0" presId="urn:microsoft.com/office/officeart/2005/8/layout/gear1"/>
    <dgm:cxn modelId="{8A5F97AA-FE8E-4CA3-B1AE-81793901DEF0}" type="presParOf" srcId="{B3E789B9-B955-4C74-836B-8319FF5AC969}" destId="{5DA9E029-EA80-4F50-A36D-EEF76463D649}" srcOrd="1" destOrd="0" presId="urn:microsoft.com/office/officeart/2005/8/layout/gear1"/>
    <dgm:cxn modelId="{51B2D642-1B73-438B-A71A-AC85FF414C21}" type="presParOf" srcId="{B3E789B9-B955-4C74-836B-8319FF5AC969}" destId="{E11A638B-1179-427A-8C77-211513585963}" srcOrd="2" destOrd="0" presId="urn:microsoft.com/office/officeart/2005/8/layout/gear1"/>
    <dgm:cxn modelId="{0A5CE334-E59E-4340-B454-E497EE0354D9}" type="presParOf" srcId="{B3E789B9-B955-4C74-836B-8319FF5AC969}" destId="{93C05C28-E2AA-4894-9CE4-2AD21305BBA2}" srcOrd="3" destOrd="0" presId="urn:microsoft.com/office/officeart/2005/8/layout/gear1"/>
    <dgm:cxn modelId="{3CDB752A-C59D-4E95-A4CF-4D9DBA9CCE3F}" type="presParOf" srcId="{B3E789B9-B955-4C74-836B-8319FF5AC969}" destId="{94DD845C-17C2-4DDF-90F2-F6ABB9245FC1}" srcOrd="4" destOrd="0" presId="urn:microsoft.com/office/officeart/2005/8/layout/gear1"/>
    <dgm:cxn modelId="{0649817A-3243-48CA-B80A-9E12498A2DAB}" type="presParOf" srcId="{B3E789B9-B955-4C74-836B-8319FF5AC969}" destId="{DE349B7C-8ABE-4953-A85E-19BEF52C72AB}" srcOrd="5" destOrd="0" presId="urn:microsoft.com/office/officeart/2005/8/layout/gear1"/>
    <dgm:cxn modelId="{F19C724E-A879-41DA-8EF8-33E74238BD42}" type="presParOf" srcId="{B3E789B9-B955-4C74-836B-8319FF5AC969}" destId="{C1DD0490-EEBE-495D-ADBC-31C7700F4135}" srcOrd="6" destOrd="0" presId="urn:microsoft.com/office/officeart/2005/8/layout/gear1"/>
    <dgm:cxn modelId="{F5495117-8198-4B37-9B1F-0D0804D27129}" type="presParOf" srcId="{B3E789B9-B955-4C74-836B-8319FF5AC969}" destId="{CE27D32D-E294-463B-A135-5E79F82B7A1E}" srcOrd="7" destOrd="0" presId="urn:microsoft.com/office/officeart/2005/8/layout/gear1"/>
    <dgm:cxn modelId="{248332F7-F3B6-41D8-89B8-A729C078E73D}" type="presParOf" srcId="{B3E789B9-B955-4C74-836B-8319FF5AC969}" destId="{7AC9230F-82BC-49CD-A6C4-583779861723}" srcOrd="8" destOrd="0" presId="urn:microsoft.com/office/officeart/2005/8/layout/gear1"/>
    <dgm:cxn modelId="{AAEFDF0E-0C9E-428D-8DE3-325529476A47}" type="presParOf" srcId="{B3E789B9-B955-4C74-836B-8319FF5AC969}" destId="{D6109388-2C72-4749-A97D-EE4665126D94}" srcOrd="9" destOrd="0" presId="urn:microsoft.com/office/officeart/2005/8/layout/gear1"/>
    <dgm:cxn modelId="{BA70C980-2FD9-490F-B1C1-BAE1C5C3CBEB}" type="presParOf" srcId="{B3E789B9-B955-4C74-836B-8319FF5AC969}" destId="{345D5B5D-5538-416B-BB40-9D3C2F36D524}" srcOrd="10" destOrd="0" presId="urn:microsoft.com/office/officeart/2005/8/layout/gear1"/>
    <dgm:cxn modelId="{DEEEA74E-AB6A-4DEA-BF33-874651F2C456}" type="presParOf" srcId="{B3E789B9-B955-4C74-836B-8319FF5AC969}" destId="{A5EECD92-6370-424C-BA29-8C00E2E253A7}" srcOrd="11" destOrd="0" presId="urn:microsoft.com/office/officeart/2005/8/layout/gear1"/>
    <dgm:cxn modelId="{CE2B59F2-F3C4-4144-9359-F1AA79924142}" type="presParOf" srcId="{B3E789B9-B955-4C74-836B-8319FF5AC969}" destId="{E73FE1B6-77DF-4DCB-A271-985030EE7131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4450C73-8623-4621-BA4C-C9F470572CD1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F9E4762C-B27C-4912-BED3-8C2D9B37506D}">
      <dgm:prSet phldrT="[Tekst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3">
            <a:lumMod val="50000"/>
            <a:alpha val="50000"/>
          </a:schemeClr>
        </a:solidFill>
        <a:ln>
          <a:solidFill>
            <a:schemeClr val="accent2">
              <a:lumMod val="50000"/>
            </a:schemeClr>
          </a:solidFill>
        </a:ln>
      </dgm:spPr>
      <dgm:t>
        <a:bodyPr/>
        <a:lstStyle/>
        <a:p>
          <a:r>
            <a:rPr lang="nb-NO" sz="1800" b="1" dirty="0"/>
            <a:t>Samhandling</a:t>
          </a:r>
          <a:endParaRPr lang="nb-NO" sz="1400" b="1" dirty="0"/>
        </a:p>
      </dgm:t>
    </dgm:pt>
    <dgm:pt modelId="{9D793C8C-6C56-47FC-B90C-8F3DC55766F0}" type="parTrans" cxnId="{4CF5F10B-FE49-4C00-935D-7B314559EE03}">
      <dgm:prSet/>
      <dgm:spPr/>
      <dgm:t>
        <a:bodyPr/>
        <a:lstStyle/>
        <a:p>
          <a:endParaRPr lang="nb-NO"/>
        </a:p>
      </dgm:t>
    </dgm:pt>
    <dgm:pt modelId="{8245C652-C0F6-4245-9AE6-C4F7B8CC127A}" type="sibTrans" cxnId="{4CF5F10B-FE49-4C00-935D-7B314559EE03}">
      <dgm:prSet/>
      <dgm:spPr>
        <a:solidFill>
          <a:schemeClr val="accent6">
            <a:lumMod val="50000"/>
          </a:schemeClr>
        </a:solidFill>
      </dgm:spPr>
      <dgm:t>
        <a:bodyPr/>
        <a:lstStyle/>
        <a:p>
          <a:endParaRPr lang="nb-NO"/>
        </a:p>
      </dgm:t>
    </dgm:pt>
    <dgm:pt modelId="{CA98B104-10D4-46E7-A590-52184332CB3D}">
      <dgm:prSet phldrT="[Tekst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>
            <a:lumMod val="50000"/>
            <a:alpha val="50000"/>
          </a:schemeClr>
        </a:solidFill>
        <a:ln>
          <a:solidFill>
            <a:schemeClr val="accent2">
              <a:lumMod val="50000"/>
            </a:schemeClr>
          </a:solidFill>
        </a:ln>
      </dgm:spPr>
      <dgm:t>
        <a:bodyPr/>
        <a:lstStyle/>
        <a:p>
          <a:r>
            <a:rPr lang="nb-NO" sz="1600" b="1" dirty="0"/>
            <a:t>Kunnskap</a:t>
          </a:r>
          <a:endParaRPr lang="nb-NO" sz="1400" b="1" dirty="0"/>
        </a:p>
      </dgm:t>
    </dgm:pt>
    <dgm:pt modelId="{2320CE54-3C2A-4338-A58C-E9607D7D94C2}" type="parTrans" cxnId="{951B15C0-B5FB-4AB5-B88C-A05F2A1D1BD0}">
      <dgm:prSet/>
      <dgm:spPr/>
      <dgm:t>
        <a:bodyPr/>
        <a:lstStyle/>
        <a:p>
          <a:endParaRPr lang="nb-NO"/>
        </a:p>
      </dgm:t>
    </dgm:pt>
    <dgm:pt modelId="{ED9CB5A9-5F09-4D4D-B40A-D35EB3EC3A99}" type="sibTrans" cxnId="{951B15C0-B5FB-4AB5-B88C-A05F2A1D1BD0}">
      <dgm:prSet/>
      <dgm:spPr>
        <a:solidFill>
          <a:schemeClr val="accent6">
            <a:lumMod val="50000"/>
          </a:schemeClr>
        </a:solidFill>
      </dgm:spPr>
      <dgm:t>
        <a:bodyPr/>
        <a:lstStyle/>
        <a:p>
          <a:endParaRPr lang="nb-NO"/>
        </a:p>
      </dgm:t>
    </dgm:pt>
    <dgm:pt modelId="{08674876-F046-44C8-BE0E-15F4736F2482}">
      <dgm:prSet phldrT="[Tekst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chemeClr val="tx1">
            <a:lumMod val="75000"/>
            <a:alpha val="50000"/>
          </a:schemeClr>
        </a:solidFill>
        <a:ln>
          <a:solidFill>
            <a:schemeClr val="accent2">
              <a:lumMod val="50000"/>
            </a:schemeClr>
          </a:solidFill>
        </a:ln>
      </dgm:spPr>
      <dgm:t>
        <a:bodyPr/>
        <a:lstStyle/>
        <a:p>
          <a:r>
            <a:rPr lang="nb-NO" sz="1600" b="1" dirty="0"/>
            <a:t>Løsninger</a:t>
          </a:r>
          <a:endParaRPr lang="nb-NO" sz="1400" b="1" dirty="0"/>
        </a:p>
      </dgm:t>
    </dgm:pt>
    <dgm:pt modelId="{2181BC95-296D-4268-B0F3-ED616A5D7132}" type="parTrans" cxnId="{1E6F43B3-4A40-4723-AB54-0D84844568C3}">
      <dgm:prSet/>
      <dgm:spPr/>
      <dgm:t>
        <a:bodyPr/>
        <a:lstStyle/>
        <a:p>
          <a:endParaRPr lang="nb-NO"/>
        </a:p>
      </dgm:t>
    </dgm:pt>
    <dgm:pt modelId="{9884B5CB-5A36-4E27-9B07-0FB5ADCF9712}" type="sibTrans" cxnId="{1E6F43B3-4A40-4723-AB54-0D84844568C3}">
      <dgm:prSet/>
      <dgm:spPr>
        <a:solidFill>
          <a:schemeClr val="accent6">
            <a:lumMod val="50000"/>
          </a:schemeClr>
        </a:solidFill>
      </dgm:spPr>
      <dgm:t>
        <a:bodyPr/>
        <a:lstStyle/>
        <a:p>
          <a:endParaRPr lang="nb-NO"/>
        </a:p>
      </dgm:t>
    </dgm:pt>
    <dgm:pt modelId="{B3E789B9-B955-4C74-836B-8319FF5AC969}" type="pres">
      <dgm:prSet presAssocID="{14450C73-8623-4621-BA4C-C9F470572CD1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3D4219C-2AAC-479E-8043-03E5486F086F}" type="pres">
      <dgm:prSet presAssocID="{F9E4762C-B27C-4912-BED3-8C2D9B37506D}" presName="gear1" presStyleLbl="node1" presStyleIdx="0" presStyleCnt="3">
        <dgm:presLayoutVars>
          <dgm:chMax val="1"/>
          <dgm:bulletEnabled val="1"/>
        </dgm:presLayoutVars>
      </dgm:prSet>
      <dgm:spPr/>
    </dgm:pt>
    <dgm:pt modelId="{5DA9E029-EA80-4F50-A36D-EEF76463D649}" type="pres">
      <dgm:prSet presAssocID="{F9E4762C-B27C-4912-BED3-8C2D9B37506D}" presName="gear1srcNode" presStyleLbl="node1" presStyleIdx="0" presStyleCnt="3"/>
      <dgm:spPr/>
    </dgm:pt>
    <dgm:pt modelId="{E11A638B-1179-427A-8C77-211513585963}" type="pres">
      <dgm:prSet presAssocID="{F9E4762C-B27C-4912-BED3-8C2D9B37506D}" presName="gear1dstNode" presStyleLbl="node1" presStyleIdx="0" presStyleCnt="3"/>
      <dgm:spPr/>
    </dgm:pt>
    <dgm:pt modelId="{93C05C28-E2AA-4894-9CE4-2AD21305BBA2}" type="pres">
      <dgm:prSet presAssocID="{CA98B104-10D4-46E7-A590-52184332CB3D}" presName="gear2" presStyleLbl="node1" presStyleIdx="1" presStyleCnt="3" custScaleX="107810" custScaleY="106387" custLinFactNeighborX="-16967" custLinFactNeighborY="-6824">
        <dgm:presLayoutVars>
          <dgm:chMax val="1"/>
          <dgm:bulletEnabled val="1"/>
        </dgm:presLayoutVars>
      </dgm:prSet>
      <dgm:spPr/>
    </dgm:pt>
    <dgm:pt modelId="{94DD845C-17C2-4DDF-90F2-F6ABB9245FC1}" type="pres">
      <dgm:prSet presAssocID="{CA98B104-10D4-46E7-A590-52184332CB3D}" presName="gear2srcNode" presStyleLbl="node1" presStyleIdx="1" presStyleCnt="3"/>
      <dgm:spPr/>
    </dgm:pt>
    <dgm:pt modelId="{DE349B7C-8ABE-4953-A85E-19BEF52C72AB}" type="pres">
      <dgm:prSet presAssocID="{CA98B104-10D4-46E7-A590-52184332CB3D}" presName="gear2dstNode" presStyleLbl="node1" presStyleIdx="1" presStyleCnt="3"/>
      <dgm:spPr/>
    </dgm:pt>
    <dgm:pt modelId="{C1DD0490-EEBE-495D-ADBC-31C7700F4135}" type="pres">
      <dgm:prSet presAssocID="{08674876-F046-44C8-BE0E-15F4736F2482}" presName="gear3" presStyleLbl="node1" presStyleIdx="2" presStyleCnt="3" custLinFactNeighborX="9866" custLinFactNeighborY="18569"/>
      <dgm:spPr/>
    </dgm:pt>
    <dgm:pt modelId="{CE27D32D-E294-463B-A135-5E79F82B7A1E}" type="pres">
      <dgm:prSet presAssocID="{08674876-F046-44C8-BE0E-15F4736F2482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7AC9230F-82BC-49CD-A6C4-583779861723}" type="pres">
      <dgm:prSet presAssocID="{08674876-F046-44C8-BE0E-15F4736F2482}" presName="gear3srcNode" presStyleLbl="node1" presStyleIdx="2" presStyleCnt="3"/>
      <dgm:spPr/>
    </dgm:pt>
    <dgm:pt modelId="{D6109388-2C72-4749-A97D-EE4665126D94}" type="pres">
      <dgm:prSet presAssocID="{08674876-F046-44C8-BE0E-15F4736F2482}" presName="gear3dstNode" presStyleLbl="node1" presStyleIdx="2" presStyleCnt="3"/>
      <dgm:spPr/>
    </dgm:pt>
    <dgm:pt modelId="{345D5B5D-5538-416B-BB40-9D3C2F36D524}" type="pres">
      <dgm:prSet presAssocID="{8245C652-C0F6-4245-9AE6-C4F7B8CC127A}" presName="connector1" presStyleLbl="sibTrans2D1" presStyleIdx="0" presStyleCnt="3" custAng="1292675" custScaleX="101196" custScaleY="102962"/>
      <dgm:spPr/>
    </dgm:pt>
    <dgm:pt modelId="{A5EECD92-6370-424C-BA29-8C00E2E253A7}" type="pres">
      <dgm:prSet presAssocID="{ED9CB5A9-5F09-4D4D-B40A-D35EB3EC3A99}" presName="connector2" presStyleLbl="sibTrans2D1" presStyleIdx="1" presStyleCnt="3" custLinFactNeighborX="-16137" custLinFactNeighborY="-4022"/>
      <dgm:spPr/>
    </dgm:pt>
    <dgm:pt modelId="{E73FE1B6-77DF-4DCB-A271-985030EE7131}" type="pres">
      <dgm:prSet presAssocID="{9884B5CB-5A36-4E27-9B07-0FB5ADCF9712}" presName="connector3" presStyleLbl="sibTrans2D1" presStyleIdx="2" presStyleCnt="3" custAng="1430829" custLinFactNeighborX="10564" custLinFactNeighborY="12434"/>
      <dgm:spPr/>
    </dgm:pt>
  </dgm:ptLst>
  <dgm:cxnLst>
    <dgm:cxn modelId="{30F45F02-ACFC-4664-B2AC-C15B0BC74C4F}" type="presOf" srcId="{08674876-F046-44C8-BE0E-15F4736F2482}" destId="{C1DD0490-EEBE-495D-ADBC-31C7700F4135}" srcOrd="0" destOrd="0" presId="urn:microsoft.com/office/officeart/2005/8/layout/gear1"/>
    <dgm:cxn modelId="{9AC5CF04-D5E3-4411-A97A-E153A840EC76}" type="presOf" srcId="{CA98B104-10D4-46E7-A590-52184332CB3D}" destId="{93C05C28-E2AA-4894-9CE4-2AD21305BBA2}" srcOrd="0" destOrd="0" presId="urn:microsoft.com/office/officeart/2005/8/layout/gear1"/>
    <dgm:cxn modelId="{E7E5CC09-67D3-47DB-AF44-297B3CF2F417}" type="presOf" srcId="{08674876-F046-44C8-BE0E-15F4736F2482}" destId="{CE27D32D-E294-463B-A135-5E79F82B7A1E}" srcOrd="1" destOrd="0" presId="urn:microsoft.com/office/officeart/2005/8/layout/gear1"/>
    <dgm:cxn modelId="{4CF5F10B-FE49-4C00-935D-7B314559EE03}" srcId="{14450C73-8623-4621-BA4C-C9F470572CD1}" destId="{F9E4762C-B27C-4912-BED3-8C2D9B37506D}" srcOrd="0" destOrd="0" parTransId="{9D793C8C-6C56-47FC-B90C-8F3DC55766F0}" sibTransId="{8245C652-C0F6-4245-9AE6-C4F7B8CC127A}"/>
    <dgm:cxn modelId="{792DFB10-3062-4209-9BF2-8E3CF6485BFD}" type="presOf" srcId="{9884B5CB-5A36-4E27-9B07-0FB5ADCF9712}" destId="{E73FE1B6-77DF-4DCB-A271-985030EE7131}" srcOrd="0" destOrd="0" presId="urn:microsoft.com/office/officeart/2005/8/layout/gear1"/>
    <dgm:cxn modelId="{99A00C6F-C557-4E94-ABD7-9CE8D0338958}" type="presOf" srcId="{CA98B104-10D4-46E7-A590-52184332CB3D}" destId="{DE349B7C-8ABE-4953-A85E-19BEF52C72AB}" srcOrd="2" destOrd="0" presId="urn:microsoft.com/office/officeart/2005/8/layout/gear1"/>
    <dgm:cxn modelId="{7C21E973-CA23-4F9D-A49C-5D3D57C2CD33}" type="presOf" srcId="{8245C652-C0F6-4245-9AE6-C4F7B8CC127A}" destId="{345D5B5D-5538-416B-BB40-9D3C2F36D524}" srcOrd="0" destOrd="0" presId="urn:microsoft.com/office/officeart/2005/8/layout/gear1"/>
    <dgm:cxn modelId="{47AE6E85-A978-406F-9F89-FDA43BB4555B}" type="presOf" srcId="{08674876-F046-44C8-BE0E-15F4736F2482}" destId="{D6109388-2C72-4749-A97D-EE4665126D94}" srcOrd="3" destOrd="0" presId="urn:microsoft.com/office/officeart/2005/8/layout/gear1"/>
    <dgm:cxn modelId="{7E3C7286-5633-42AE-9A43-1272E0B57D3A}" type="presOf" srcId="{14450C73-8623-4621-BA4C-C9F470572CD1}" destId="{B3E789B9-B955-4C74-836B-8319FF5AC969}" srcOrd="0" destOrd="0" presId="urn:microsoft.com/office/officeart/2005/8/layout/gear1"/>
    <dgm:cxn modelId="{0518228A-2C86-424C-ADCD-3FB697B1B771}" type="presOf" srcId="{ED9CB5A9-5F09-4D4D-B40A-D35EB3EC3A99}" destId="{A5EECD92-6370-424C-BA29-8C00E2E253A7}" srcOrd="0" destOrd="0" presId="urn:microsoft.com/office/officeart/2005/8/layout/gear1"/>
    <dgm:cxn modelId="{E3B448A9-5BCE-4CF2-B6B6-66F52C1B828E}" type="presOf" srcId="{CA98B104-10D4-46E7-A590-52184332CB3D}" destId="{94DD845C-17C2-4DDF-90F2-F6ABB9245FC1}" srcOrd="1" destOrd="0" presId="urn:microsoft.com/office/officeart/2005/8/layout/gear1"/>
    <dgm:cxn modelId="{1E6F43B3-4A40-4723-AB54-0D84844568C3}" srcId="{14450C73-8623-4621-BA4C-C9F470572CD1}" destId="{08674876-F046-44C8-BE0E-15F4736F2482}" srcOrd="2" destOrd="0" parTransId="{2181BC95-296D-4268-B0F3-ED616A5D7132}" sibTransId="{9884B5CB-5A36-4E27-9B07-0FB5ADCF9712}"/>
    <dgm:cxn modelId="{061822BE-E7C4-4481-88D1-52355A328C23}" type="presOf" srcId="{F9E4762C-B27C-4912-BED3-8C2D9B37506D}" destId="{E11A638B-1179-427A-8C77-211513585963}" srcOrd="2" destOrd="0" presId="urn:microsoft.com/office/officeart/2005/8/layout/gear1"/>
    <dgm:cxn modelId="{951B15C0-B5FB-4AB5-B88C-A05F2A1D1BD0}" srcId="{14450C73-8623-4621-BA4C-C9F470572CD1}" destId="{CA98B104-10D4-46E7-A590-52184332CB3D}" srcOrd="1" destOrd="0" parTransId="{2320CE54-3C2A-4338-A58C-E9607D7D94C2}" sibTransId="{ED9CB5A9-5F09-4D4D-B40A-D35EB3EC3A99}"/>
    <dgm:cxn modelId="{BE33B2C8-D254-4517-9679-E2175EB681C6}" type="presOf" srcId="{F9E4762C-B27C-4912-BED3-8C2D9B37506D}" destId="{53D4219C-2AAC-479E-8043-03E5486F086F}" srcOrd="0" destOrd="0" presId="urn:microsoft.com/office/officeart/2005/8/layout/gear1"/>
    <dgm:cxn modelId="{DBA51BCB-FB30-49ED-9182-8AD4C491EC64}" type="presOf" srcId="{08674876-F046-44C8-BE0E-15F4736F2482}" destId="{7AC9230F-82BC-49CD-A6C4-583779861723}" srcOrd="2" destOrd="0" presId="urn:microsoft.com/office/officeart/2005/8/layout/gear1"/>
    <dgm:cxn modelId="{ADBC95F9-6226-4D66-BA07-435A99F2AD21}" type="presOf" srcId="{F9E4762C-B27C-4912-BED3-8C2D9B37506D}" destId="{5DA9E029-EA80-4F50-A36D-EEF76463D649}" srcOrd="1" destOrd="0" presId="urn:microsoft.com/office/officeart/2005/8/layout/gear1"/>
    <dgm:cxn modelId="{781C84FD-3ACB-411A-90E9-E9109FB81148}" type="presParOf" srcId="{B3E789B9-B955-4C74-836B-8319FF5AC969}" destId="{53D4219C-2AAC-479E-8043-03E5486F086F}" srcOrd="0" destOrd="0" presId="urn:microsoft.com/office/officeart/2005/8/layout/gear1"/>
    <dgm:cxn modelId="{8A5F97AA-FE8E-4CA3-B1AE-81793901DEF0}" type="presParOf" srcId="{B3E789B9-B955-4C74-836B-8319FF5AC969}" destId="{5DA9E029-EA80-4F50-A36D-EEF76463D649}" srcOrd="1" destOrd="0" presId="urn:microsoft.com/office/officeart/2005/8/layout/gear1"/>
    <dgm:cxn modelId="{51B2D642-1B73-438B-A71A-AC85FF414C21}" type="presParOf" srcId="{B3E789B9-B955-4C74-836B-8319FF5AC969}" destId="{E11A638B-1179-427A-8C77-211513585963}" srcOrd="2" destOrd="0" presId="urn:microsoft.com/office/officeart/2005/8/layout/gear1"/>
    <dgm:cxn modelId="{0A5CE334-E59E-4340-B454-E497EE0354D9}" type="presParOf" srcId="{B3E789B9-B955-4C74-836B-8319FF5AC969}" destId="{93C05C28-E2AA-4894-9CE4-2AD21305BBA2}" srcOrd="3" destOrd="0" presId="urn:microsoft.com/office/officeart/2005/8/layout/gear1"/>
    <dgm:cxn modelId="{3CDB752A-C59D-4E95-A4CF-4D9DBA9CCE3F}" type="presParOf" srcId="{B3E789B9-B955-4C74-836B-8319FF5AC969}" destId="{94DD845C-17C2-4DDF-90F2-F6ABB9245FC1}" srcOrd="4" destOrd="0" presId="urn:microsoft.com/office/officeart/2005/8/layout/gear1"/>
    <dgm:cxn modelId="{0649817A-3243-48CA-B80A-9E12498A2DAB}" type="presParOf" srcId="{B3E789B9-B955-4C74-836B-8319FF5AC969}" destId="{DE349B7C-8ABE-4953-A85E-19BEF52C72AB}" srcOrd="5" destOrd="0" presId="urn:microsoft.com/office/officeart/2005/8/layout/gear1"/>
    <dgm:cxn modelId="{F19C724E-A879-41DA-8EF8-33E74238BD42}" type="presParOf" srcId="{B3E789B9-B955-4C74-836B-8319FF5AC969}" destId="{C1DD0490-EEBE-495D-ADBC-31C7700F4135}" srcOrd="6" destOrd="0" presId="urn:microsoft.com/office/officeart/2005/8/layout/gear1"/>
    <dgm:cxn modelId="{F5495117-8198-4B37-9B1F-0D0804D27129}" type="presParOf" srcId="{B3E789B9-B955-4C74-836B-8319FF5AC969}" destId="{CE27D32D-E294-463B-A135-5E79F82B7A1E}" srcOrd="7" destOrd="0" presId="urn:microsoft.com/office/officeart/2005/8/layout/gear1"/>
    <dgm:cxn modelId="{248332F7-F3B6-41D8-89B8-A729C078E73D}" type="presParOf" srcId="{B3E789B9-B955-4C74-836B-8319FF5AC969}" destId="{7AC9230F-82BC-49CD-A6C4-583779861723}" srcOrd="8" destOrd="0" presId="urn:microsoft.com/office/officeart/2005/8/layout/gear1"/>
    <dgm:cxn modelId="{AAEFDF0E-0C9E-428D-8DE3-325529476A47}" type="presParOf" srcId="{B3E789B9-B955-4C74-836B-8319FF5AC969}" destId="{D6109388-2C72-4749-A97D-EE4665126D94}" srcOrd="9" destOrd="0" presId="urn:microsoft.com/office/officeart/2005/8/layout/gear1"/>
    <dgm:cxn modelId="{BA70C980-2FD9-490F-B1C1-BAE1C5C3CBEB}" type="presParOf" srcId="{B3E789B9-B955-4C74-836B-8319FF5AC969}" destId="{345D5B5D-5538-416B-BB40-9D3C2F36D524}" srcOrd="10" destOrd="0" presId="urn:microsoft.com/office/officeart/2005/8/layout/gear1"/>
    <dgm:cxn modelId="{DEEEA74E-AB6A-4DEA-BF33-874651F2C456}" type="presParOf" srcId="{B3E789B9-B955-4C74-836B-8319FF5AC969}" destId="{A5EECD92-6370-424C-BA29-8C00E2E253A7}" srcOrd="11" destOrd="0" presId="urn:microsoft.com/office/officeart/2005/8/layout/gear1"/>
    <dgm:cxn modelId="{CE2B59F2-F3C4-4144-9359-F1AA79924142}" type="presParOf" srcId="{B3E789B9-B955-4C74-836B-8319FF5AC969}" destId="{E73FE1B6-77DF-4DCB-A271-985030EE7131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D4219C-2AAC-479E-8043-03E5486F086F}">
      <dsp:nvSpPr>
        <dsp:cNvPr id="0" name=""/>
        <dsp:cNvSpPr/>
      </dsp:nvSpPr>
      <dsp:spPr>
        <a:xfrm>
          <a:off x="3793066" y="2438400"/>
          <a:ext cx="2980266" cy="2980266"/>
        </a:xfrm>
        <a:prstGeom prst="gear9">
          <a:avLst/>
        </a:prstGeom>
        <a:solidFill>
          <a:schemeClr val="accent3">
            <a:lumMod val="50000"/>
            <a:alpha val="50000"/>
          </a:schemeClr>
        </a:solidFill>
        <a:ln>
          <a:solidFill>
            <a:schemeClr val="accent2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 dirty="0"/>
            <a:t>Samhandling</a:t>
          </a:r>
          <a:endParaRPr lang="nb-NO" sz="1600" b="1" kern="1200" dirty="0"/>
        </a:p>
      </dsp:txBody>
      <dsp:txXfrm>
        <a:off x="4392232" y="3136513"/>
        <a:ext cx="1781934" cy="1531918"/>
      </dsp:txXfrm>
    </dsp:sp>
    <dsp:sp modelId="{93C05C28-E2AA-4894-9CE4-2AD21305BBA2}">
      <dsp:nvSpPr>
        <dsp:cNvPr id="0" name=""/>
        <dsp:cNvSpPr/>
      </dsp:nvSpPr>
      <dsp:spPr>
        <a:xfrm>
          <a:off x="1606699" y="1516847"/>
          <a:ext cx="2336745" cy="2305902"/>
        </a:xfrm>
        <a:prstGeom prst="gear6">
          <a:avLst/>
        </a:prstGeom>
        <a:solidFill>
          <a:schemeClr val="accent2">
            <a:lumMod val="50000"/>
            <a:alpha val="50000"/>
          </a:schemeClr>
        </a:solidFill>
        <a:ln>
          <a:solidFill>
            <a:schemeClr val="accent2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/>
            <a:t>Kunnskap</a:t>
          </a:r>
          <a:endParaRPr lang="nb-NO" sz="1600" b="1" kern="1200" dirty="0"/>
        </a:p>
      </dsp:txBody>
      <dsp:txXfrm>
        <a:off x="2191700" y="2100873"/>
        <a:ext cx="1166743" cy="1137850"/>
      </dsp:txXfrm>
    </dsp:sp>
    <dsp:sp modelId="{C1DD0490-EEBE-495D-ADBC-31C7700F4135}">
      <dsp:nvSpPr>
        <dsp:cNvPr id="0" name=""/>
        <dsp:cNvSpPr/>
      </dsp:nvSpPr>
      <dsp:spPr>
        <a:xfrm rot="20700000">
          <a:off x="3529706" y="721614"/>
          <a:ext cx="2123675" cy="2123675"/>
        </a:xfrm>
        <a:prstGeom prst="gear6">
          <a:avLst/>
        </a:prstGeom>
        <a:solidFill>
          <a:schemeClr val="tx1">
            <a:lumMod val="75000"/>
            <a:alpha val="50000"/>
          </a:schemeClr>
        </a:solidFill>
        <a:ln>
          <a:solidFill>
            <a:schemeClr val="accent2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/>
            <a:t>Løsninger</a:t>
          </a:r>
          <a:endParaRPr lang="nb-NO" sz="1600" b="1" kern="1200" dirty="0"/>
        </a:p>
      </dsp:txBody>
      <dsp:txXfrm rot="-20700000">
        <a:off x="3995490" y="1187399"/>
        <a:ext cx="1192106" cy="1192106"/>
      </dsp:txXfrm>
    </dsp:sp>
    <dsp:sp modelId="{345D5B5D-5538-416B-BB40-9D3C2F36D524}">
      <dsp:nvSpPr>
        <dsp:cNvPr id="0" name=""/>
        <dsp:cNvSpPr/>
      </dsp:nvSpPr>
      <dsp:spPr>
        <a:xfrm rot="1292675">
          <a:off x="3554765" y="1924368"/>
          <a:ext cx="3860365" cy="3927734"/>
        </a:xfrm>
        <a:prstGeom prst="circularArrow">
          <a:avLst>
            <a:gd name="adj1" fmla="val 4688"/>
            <a:gd name="adj2" fmla="val 299029"/>
            <a:gd name="adj3" fmla="val 2539295"/>
            <a:gd name="adj4" fmla="val 15812321"/>
            <a:gd name="adj5" fmla="val 5469"/>
          </a:avLst>
        </a:prstGeom>
        <a:solidFill>
          <a:schemeClr val="accent6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EECD92-6370-424C-BA29-8C00E2E253A7}">
      <dsp:nvSpPr>
        <dsp:cNvPr id="0" name=""/>
        <dsp:cNvSpPr/>
      </dsp:nvSpPr>
      <dsp:spPr>
        <a:xfrm>
          <a:off x="1227978" y="1137664"/>
          <a:ext cx="2771648" cy="277164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6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3FE1B6-77DF-4DCB-A271-985030EE7131}">
      <dsp:nvSpPr>
        <dsp:cNvPr id="0" name=""/>
        <dsp:cNvSpPr/>
      </dsp:nvSpPr>
      <dsp:spPr>
        <a:xfrm rot="1430829">
          <a:off x="3097561" y="139800"/>
          <a:ext cx="2988394" cy="2988394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6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D4219C-2AAC-479E-8043-03E5486F086F}">
      <dsp:nvSpPr>
        <dsp:cNvPr id="0" name=""/>
        <dsp:cNvSpPr/>
      </dsp:nvSpPr>
      <dsp:spPr>
        <a:xfrm>
          <a:off x="3377973" y="2159620"/>
          <a:ext cx="2639536" cy="2639536"/>
        </a:xfrm>
        <a:prstGeom prst="gear9">
          <a:avLst/>
        </a:prstGeom>
        <a:solidFill>
          <a:schemeClr val="accent3">
            <a:lumMod val="50000"/>
            <a:alpha val="50000"/>
          </a:schemeClr>
        </a:solidFill>
        <a:ln>
          <a:solidFill>
            <a:schemeClr val="accent2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/>
            <a:t>Samhandling</a:t>
          </a:r>
          <a:endParaRPr lang="nb-NO" sz="1400" b="1" kern="1200" dirty="0"/>
        </a:p>
      </dsp:txBody>
      <dsp:txXfrm>
        <a:off x="3908637" y="2777919"/>
        <a:ext cx="1578208" cy="1356776"/>
      </dsp:txXfrm>
    </dsp:sp>
    <dsp:sp modelId="{93C05C28-E2AA-4894-9CE4-2AD21305BBA2}">
      <dsp:nvSpPr>
        <dsp:cNvPr id="0" name=""/>
        <dsp:cNvSpPr/>
      </dsp:nvSpPr>
      <dsp:spPr>
        <a:xfrm>
          <a:off x="1441570" y="1343428"/>
          <a:ext cx="2069588" cy="2042271"/>
        </a:xfrm>
        <a:prstGeom prst="gear6">
          <a:avLst/>
        </a:prstGeom>
        <a:solidFill>
          <a:schemeClr val="accent2">
            <a:lumMod val="50000"/>
            <a:alpha val="50000"/>
          </a:schemeClr>
        </a:solidFill>
        <a:ln>
          <a:solidFill>
            <a:schemeClr val="accent2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/>
            <a:t>Kunnskap</a:t>
          </a:r>
          <a:endParaRPr lang="nb-NO" sz="1400" b="1" kern="1200" dirty="0"/>
        </a:p>
      </dsp:txBody>
      <dsp:txXfrm>
        <a:off x="1959689" y="1860683"/>
        <a:ext cx="1033350" cy="1007761"/>
      </dsp:txXfrm>
    </dsp:sp>
    <dsp:sp modelId="{C1DD0490-EEBE-495D-ADBC-31C7700F4135}">
      <dsp:nvSpPr>
        <dsp:cNvPr id="0" name=""/>
        <dsp:cNvSpPr/>
      </dsp:nvSpPr>
      <dsp:spPr>
        <a:xfrm rot="20700000">
          <a:off x="3144722" y="639113"/>
          <a:ext cx="1880877" cy="1880877"/>
        </a:xfrm>
        <a:prstGeom prst="gear6">
          <a:avLst/>
        </a:prstGeom>
        <a:solidFill>
          <a:schemeClr val="tx1">
            <a:lumMod val="75000"/>
            <a:alpha val="50000"/>
          </a:schemeClr>
        </a:solidFill>
        <a:ln>
          <a:solidFill>
            <a:schemeClr val="accent2">
              <a:lumMod val="50000"/>
            </a:schemeClr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1" kern="1200" dirty="0"/>
            <a:t>Løsninger</a:t>
          </a:r>
          <a:endParaRPr lang="nb-NO" sz="1400" b="1" kern="1200" dirty="0"/>
        </a:p>
      </dsp:txBody>
      <dsp:txXfrm rot="-20700000">
        <a:off x="3557254" y="1051645"/>
        <a:ext cx="1055814" cy="1055814"/>
      </dsp:txXfrm>
    </dsp:sp>
    <dsp:sp modelId="{345D5B5D-5538-416B-BB40-9D3C2F36D524}">
      <dsp:nvSpPr>
        <dsp:cNvPr id="0" name=""/>
        <dsp:cNvSpPr/>
      </dsp:nvSpPr>
      <dsp:spPr>
        <a:xfrm rot="1292675">
          <a:off x="3161501" y="1707464"/>
          <a:ext cx="3419014" cy="3478680"/>
        </a:xfrm>
        <a:prstGeom prst="circularArrow">
          <a:avLst>
            <a:gd name="adj1" fmla="val 4687"/>
            <a:gd name="adj2" fmla="val 299029"/>
            <a:gd name="adj3" fmla="val 2528934"/>
            <a:gd name="adj4" fmla="val 15834040"/>
            <a:gd name="adj5" fmla="val 5469"/>
          </a:avLst>
        </a:prstGeom>
        <a:solidFill>
          <a:schemeClr val="accent6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EECD92-6370-424C-BA29-8C00E2E253A7}">
      <dsp:nvSpPr>
        <dsp:cNvPr id="0" name=""/>
        <dsp:cNvSpPr/>
      </dsp:nvSpPr>
      <dsp:spPr>
        <a:xfrm>
          <a:off x="1106148" y="1009654"/>
          <a:ext cx="2454768" cy="245476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6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3FE1B6-77DF-4DCB-A271-985030EE7131}">
      <dsp:nvSpPr>
        <dsp:cNvPr id="0" name=""/>
        <dsp:cNvSpPr/>
      </dsp:nvSpPr>
      <dsp:spPr>
        <a:xfrm rot="1430829">
          <a:off x="2761984" y="125875"/>
          <a:ext cx="2646735" cy="2646735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6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C584086-B161-AF49-AEA2-A8CB7CC1A68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3C2086-F506-A04D-9D46-CAA60CF39A6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FCF7A2-137C-604C-8DF7-B52ABEC86AF5}" type="datetimeFigureOut">
              <a:rPr lang="nb-NO" smtClean="0"/>
              <a:t>28.10.2022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9E974D-6C13-D146-848C-2FE6DB78B1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BE704B-B332-2848-86E4-760313FFD94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3203B7-43E2-8D4A-A0E6-CD365D8E581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244413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8103B5-8D23-9240-A2E2-5AA9C866A3AF}" type="datetimeFigureOut">
              <a:rPr lang="nb-NO" smtClean="0"/>
              <a:t>28.10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5E9A0-EB68-0740-AC3D-52EEAF6107C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736848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F5E9A0-EB68-0740-AC3D-52EEAF6107C6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0130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Klyngen har avtaler om å samarbeide med andre klynger og nettverksaktører i Bergen og på </a:t>
            </a:r>
            <a:r>
              <a:rPr lang="nb-NO" dirty="0" err="1"/>
              <a:t>vestlandet</a:t>
            </a:r>
            <a:r>
              <a:rPr lang="nb-NO" dirty="0"/>
              <a:t>.</a:t>
            </a:r>
          </a:p>
          <a:p>
            <a:r>
              <a:rPr lang="nb-NO" dirty="0"/>
              <a:t>Dette økosystemet – og at samarbeider heller enn å konkurrere – gjør Bergen og </a:t>
            </a:r>
            <a:r>
              <a:rPr lang="nb-NO" dirty="0" err="1"/>
              <a:t>vestlandet</a:t>
            </a:r>
            <a:r>
              <a:rPr lang="nb-NO" dirty="0"/>
              <a:t> helt unikt!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F5E9A0-EB68-0740-AC3D-52EEAF6107C6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25222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lyngen initiert av UiB i 2015:</a:t>
            </a:r>
          </a:p>
          <a:p>
            <a:pPr marL="285750" indent="-285750">
              <a:buFontTx/>
              <a:buChar char="-"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ygg de måtte rive sentralt på Årstadvollen (nærhet til sykehusene, VID og store deler av Det medisinske fakultet)</a:t>
            </a:r>
          </a:p>
          <a:p>
            <a:pPr marL="285750" indent="-285750">
              <a:buFontTx/>
              <a:buChar char="-"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tsing på kunnskapsklynger – ønsket en på helse</a:t>
            </a:r>
          </a:p>
          <a:p>
            <a:pPr marL="285750" indent="-285750">
              <a:buFontTx/>
              <a:buChar char="-"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lse og omsorg 21-strategien, særlig strategiens satsingen på folkehelse, kommunal helse og omsorg.</a:t>
            </a:r>
          </a:p>
          <a:p>
            <a:pPr marL="285750" indent="-285750">
              <a:buFontTx/>
              <a:buChar char="-"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ygg som er bygget og innredet for å motivere for samhandling på tvers</a:t>
            </a:r>
          </a:p>
          <a:p>
            <a:pPr marL="285750" indent="-285750">
              <a:buFontTx/>
              <a:buChar char="-"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vnet Alrek kommer fra stedets historikk – gammel kongsgård, Alrek det tidligere navnet på Ulriken.</a:t>
            </a:r>
          </a:p>
          <a:p>
            <a:pPr marL="285750" indent="-285750">
              <a:buFontTx/>
              <a:buChar char="-"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lere miljøer flyttet inn i bygget sensommer 2020:</a:t>
            </a:r>
          </a:p>
          <a:p>
            <a:pPr marL="742950" lvl="1" indent="-285750">
              <a:buFontTx/>
              <a:buChar char="-"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L: Senter for omsorgsforskning, Vest</a:t>
            </a:r>
          </a:p>
          <a:p>
            <a:pPr marL="742950" lvl="1" indent="-285750">
              <a:buFontTx/>
              <a:buChar char="-"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iB: Institutter fra Det psykologiske fakultet, IGS (</a:t>
            </a:r>
            <a:r>
              <a:rPr lang="nb-NO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Fak</a:t>
            </a: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742950" lvl="1" indent="-285750">
              <a:buFontTx/>
              <a:buChar char="-"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gen kommune </a:t>
            </a:r>
            <a:r>
              <a:rPr lang="nb-NO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kl</a:t>
            </a: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kunnskapskommunerådgiverne og </a:t>
            </a:r>
            <a:r>
              <a:rPr lang="nb-NO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vviklingssenter</a:t>
            </a: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 sykehjem og hjemmetjenester</a:t>
            </a:r>
          </a:p>
          <a:p>
            <a:pPr marL="742950" lvl="1" indent="-285750">
              <a:buFontTx/>
              <a:buChar char="-"/>
            </a:pPr>
            <a:r>
              <a:rPr lang="nb-NO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rce</a:t>
            </a: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allmennmedisin og </a:t>
            </a:r>
            <a:r>
              <a:rPr lang="nb-NO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gevaktsmedisin</a:t>
            </a: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742950" lvl="1" indent="-285750">
              <a:buFontTx/>
              <a:buChar char="-"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 tillegg framleier vi til:</a:t>
            </a:r>
          </a:p>
          <a:p>
            <a:pPr marL="1200150" lvl="2" indent="-285750">
              <a:buFontTx/>
              <a:buChar char="-"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KIL (Senter for kvalitet på legekontor)</a:t>
            </a:r>
          </a:p>
          <a:p>
            <a:pPr marL="1200150" lvl="2" indent="-285750">
              <a:buFontTx/>
              <a:buChar char="-"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rsk intensiv- og pandemiregister (Helse Bergen)</a:t>
            </a:r>
          </a:p>
          <a:p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sz="3200" b="1" u="sng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 KLYNGEN MER ENN ET BYGG</a:t>
            </a:r>
          </a:p>
          <a:p>
            <a:pPr marL="342900" lvl="0" indent="-342900">
              <a:buFont typeface="Calibri" panose="020F0502020204030204" pitchFamily="34" charset="0"/>
              <a:buChar char="-"/>
            </a:pPr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F5E9A0-EB68-0740-AC3D-52EEAF6107C6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1910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Alrek helseklynge er mer enn et bygg, det er først og fremst et forpliktende partnerskap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 err="1"/>
              <a:t>PArtnerskap</a:t>
            </a:r>
            <a:r>
              <a:rPr lang="nb-NO" dirty="0"/>
              <a:t> som kan føre til at 1+1=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  <a:p>
            <a:pPr marL="0" lvl="0" indent="0">
              <a:buFontTx/>
              <a:buNone/>
            </a:pPr>
            <a:r>
              <a:rPr lang="nb-NO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: KLYNGEN ER </a:t>
            </a:r>
            <a:r>
              <a:rPr lang="nb-NO" sz="1200" b="1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TNERNE/partnerskapet </a:t>
            </a:r>
            <a:r>
              <a:rPr lang="nb-NO" sz="1200" b="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ikke alle er i bygget):</a:t>
            </a:r>
          </a:p>
          <a:p>
            <a:pPr marL="285750" lvl="0" indent="-285750">
              <a:buFontTx/>
              <a:buChar char="-"/>
            </a:pP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iB: </a:t>
            </a:r>
            <a:r>
              <a:rPr lang="nb-NO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Fak</a:t>
            </a: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nb-NO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ykFak</a:t>
            </a:r>
            <a:endParaRPr lang="nb-NO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lvl="0" indent="-285750">
              <a:buFontTx/>
              <a:buChar char="-"/>
            </a:pP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K: BHEF + barn og familie</a:t>
            </a:r>
          </a:p>
          <a:p>
            <a:pPr marL="285750" lvl="0" indent="-285750">
              <a:buFontTx/>
              <a:buChar char="-"/>
            </a:pPr>
            <a:r>
              <a:rPr lang="nb-NO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rce</a:t>
            </a: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else, nå helse og samfunn</a:t>
            </a:r>
          </a:p>
          <a:p>
            <a:pPr marL="285750" lvl="0" indent="-285750">
              <a:buFontTx/>
              <a:buChar char="-"/>
            </a:pP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L, </a:t>
            </a:r>
            <a:r>
              <a:rPr lang="nb-NO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k</a:t>
            </a: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 helse og </a:t>
            </a:r>
            <a:r>
              <a:rPr lang="nb-NO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sialvitskap</a:t>
            </a: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g </a:t>
            </a:r>
            <a:r>
              <a:rPr lang="nb-NO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k</a:t>
            </a: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 ingeniør- og naturvistskap (flere campuser – primært Bergen representert i faggruppene)</a:t>
            </a:r>
          </a:p>
          <a:p>
            <a:pPr marL="285750" lvl="0" indent="-285750">
              <a:buFontTx/>
              <a:buChar char="-"/>
            </a:pP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kehusene </a:t>
            </a:r>
            <a:r>
              <a:rPr lang="nb-NO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raldsplass</a:t>
            </a: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g Haukeland US</a:t>
            </a:r>
          </a:p>
          <a:p>
            <a:pPr marL="285750" lvl="0" indent="-285750">
              <a:buFontTx/>
              <a:buChar char="-"/>
            </a:pP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ylket med tannhelse </a:t>
            </a:r>
            <a:r>
              <a:rPr lang="nb-NO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kl</a:t>
            </a: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annhelsetjenestens kompetansesenter</a:t>
            </a:r>
          </a:p>
          <a:p>
            <a:pPr marL="285750" lvl="0" indent="-285750">
              <a:buFontTx/>
              <a:buChar char="-"/>
            </a:pP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HI, </a:t>
            </a:r>
            <a:r>
              <a:rPr lang="nb-NO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vd</a:t>
            </a: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om er i Bergen primært</a:t>
            </a:r>
          </a:p>
          <a:p>
            <a:pPr marL="285750" lvl="0" indent="-285750">
              <a:buFontTx/>
              <a:buChar char="-"/>
            </a:pP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D fakultet for helse (flere campuser – primært Bergen representert i faggruppen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F5E9A0-EB68-0740-AC3D-52EEAF6107C6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88726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Brukerperspektivet er sentralt, og panelet deltar i alle faggrupper og i styringsgruppen. De kan formidle kontakt til mellom partnere i klyngen og brukere. All brukermedvirkning i Alrek, eller som er koordinert av panelet, skal honoreres.</a:t>
            </a:r>
          </a:p>
          <a:p>
            <a:r>
              <a:rPr lang="nb-NO" dirty="0"/>
              <a:t>Studentene inviteres med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Tverrfaglige faggrupper, som har særlig fokus på kommune, samhandling, folkehelse mm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F5E9A0-EB68-0740-AC3D-52EEAF6107C6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09340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trategien vår – finnes på nettsiden (QR kode)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F5E9A0-EB68-0740-AC3D-52EEAF6107C6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826015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«Kulturplakat» som sier neo om hva vi kan forvente av hverandre </a:t>
            </a:r>
            <a:r>
              <a:rPr lang="nb-NO" i="1" dirty="0"/>
              <a:t>når vi møtes i en klyngesammenheng</a:t>
            </a:r>
            <a:r>
              <a:rPr lang="nb-NO" dirty="0"/>
              <a:t>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F5E9A0-EB68-0740-AC3D-52EEAF6107C6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884680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F5E9A0-EB68-0740-AC3D-52EEAF6107C6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86093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atsingsområdene sier noe om at vi er en kunnskapsklynge. Vi har ikke egne </a:t>
            </a:r>
            <a:r>
              <a:rPr lang="nb-NO" dirty="0" err="1"/>
              <a:t>målsetninge</a:t>
            </a:r>
            <a:r>
              <a:rPr lang="nb-NO" dirty="0"/>
              <a:t> på kommersialisering, industrivekst eller å skape økonomisk vekst og nye arbeidsplasser, men samarbeider med næringslivsklynger når det er relevant for å skape nye og nyttige løsninger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F5E9A0-EB68-0740-AC3D-52EEAF6107C6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60100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øteplasser</a:t>
            </a: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Faggruppene er mer formaliserte møteplasser, i tillegg har vi flere tverrfaglige/sektorielle arrangementer, eks de tre konferansene: Digital helse-dager, studentkonferansen på våren (mai/juni) og Alrekdagene på høsten (september).</a:t>
            </a:r>
          </a:p>
          <a:p>
            <a:pPr marL="800100" lvl="1" indent="-342900">
              <a:buFont typeface="Calibri" panose="020F0502020204030204" pitchFamily="34" charset="0"/>
              <a:buChar char="-"/>
            </a:pPr>
            <a:r>
              <a:rPr lang="nb-NO" sz="12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gital helse-dager </a:t>
            </a: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 en sammaneslåing av to e-helsekonferanser med hhv kommune- og sykehusvinkling: Nå slått sammen til en felle konferanse med bakgrunn av partnerskap i Alrek.</a:t>
            </a: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nlighet</a:t>
            </a: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ktig for å kunne påvirke og oppnå vår visjon om formidling (beslutninger om helse skal ha godt kunnskapsgrunnlag), eks hadde kvinnehelseutvalget to dager med </a:t>
            </a:r>
            <a:r>
              <a:rPr lang="nb-NO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nspillsmøte</a:t>
            </a: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å Alrek</a:t>
            </a: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ksterne midler: </a:t>
            </a: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Å få eksterne midler er et viktig virkemiddel, også for klyngen, for å få opp gode og samfunnsnyttige prosjekter!</a:t>
            </a: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nb-NO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lyngemidler: </a:t>
            </a: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t meste av det partnerne betaler inn til klyngen går til samarbeidsmidler, utlyser 800 000 om høsten. Her kan 3 partnere gå sammen og søke om inntil 125 000,- i såkornsmidler til nye samarbeid. Studentprosjekt kan også søke. </a:t>
            </a:r>
          </a:p>
          <a:p>
            <a:pPr marL="800100" lvl="1" indent="-342900">
              <a:buFont typeface="Calibri" panose="020F0502020204030204" pitchFamily="34" charset="0"/>
              <a:buChar char="-"/>
            </a:pP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 2022 utlyser klyngen også midler fra </a:t>
            </a:r>
            <a:r>
              <a:rPr lang="nb-NO" sz="1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bekka Ege Hegermanns fond</a:t>
            </a: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– et resultat av </a:t>
            </a:r>
            <a:r>
              <a:rPr lang="nb-NO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nslighet</a:t>
            </a:r>
            <a:r>
              <a:rPr lang="nb-NO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g den allerede etablerte samarbeidsstrukturen og metode for å vurdere søknader. De trengte en transparent prosess for dette.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F5E9A0-EB68-0740-AC3D-52EEAF6107C6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797996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4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19473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auto">
          <a:xfrm>
            <a:off x="529169" y="290520"/>
            <a:ext cx="11133667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itle</a:t>
            </a:r>
            <a:r>
              <a:rPr lang="nb-NO" noProof="0" dirty="0"/>
              <a:t> style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5855682" y="6588565"/>
            <a:ext cx="461433" cy="1177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039"/>
              </a:lnSpc>
              <a:defRPr sz="739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25587" y="1152521"/>
            <a:ext cx="11138876" cy="2238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477" b="1" smtClean="0"/>
            </a:lvl1pPr>
          </a:lstStyle>
          <a:p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subtitle</a:t>
            </a:r>
            <a:r>
              <a:rPr lang="nb-NO" noProof="0" dirty="0"/>
              <a:t>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5587" y="1393830"/>
            <a:ext cx="11138876" cy="4924425"/>
          </a:xfrm>
          <a:prstGeom prst="rect">
            <a:avLst/>
          </a:prstGeom>
        </p:spPr>
        <p:txBody>
          <a:bodyPr wrap="square" lIns="0" tIns="0" rIns="0" bIns="0"/>
          <a:lstStyle>
            <a:lvl1pPr marL="167054" indent="-167054">
              <a:lnSpc>
                <a:spcPct val="100000"/>
              </a:lnSpc>
              <a:spcBef>
                <a:spcPts val="555"/>
              </a:spcBef>
              <a:spcAft>
                <a:spcPts val="0"/>
              </a:spcAft>
              <a:buFont typeface="Arial" pitchFamily="34" charset="0"/>
              <a:buChar char="•"/>
              <a:defRPr sz="1292">
                <a:solidFill>
                  <a:schemeClr val="tx2"/>
                </a:solidFill>
              </a:defRPr>
            </a:lvl1pPr>
            <a:lvl2pPr marL="332642" indent="-165589">
              <a:lnSpc>
                <a:spcPct val="100000"/>
              </a:lnSpc>
              <a:spcBef>
                <a:spcPts val="555"/>
              </a:spcBef>
              <a:spcAft>
                <a:spcPts val="0"/>
              </a:spcAft>
              <a:buFont typeface="Arial" pitchFamily="34" charset="0"/>
              <a:buChar char="−"/>
              <a:defRPr sz="1108">
                <a:solidFill>
                  <a:schemeClr val="tx2"/>
                </a:solidFill>
              </a:defRPr>
            </a:lvl2pPr>
            <a:lvl3pPr marL="499697" indent="-158261">
              <a:lnSpc>
                <a:spcPct val="100000"/>
              </a:lnSpc>
              <a:spcBef>
                <a:spcPts val="555"/>
              </a:spcBef>
              <a:spcAft>
                <a:spcPts val="0"/>
              </a:spcAft>
              <a:buFont typeface="Arial" pitchFamily="34" charset="0"/>
              <a:buChar char="•"/>
              <a:defRPr sz="1108">
                <a:solidFill>
                  <a:schemeClr val="tx2"/>
                </a:solidFill>
              </a:defRPr>
            </a:lvl3pPr>
            <a:lvl4pPr marL="656493" indent="-165589">
              <a:lnSpc>
                <a:spcPct val="100000"/>
              </a:lnSpc>
              <a:spcBef>
                <a:spcPts val="555"/>
              </a:spcBef>
              <a:spcAft>
                <a:spcPts val="0"/>
              </a:spcAft>
              <a:buFont typeface="Arial" pitchFamily="34" charset="0"/>
              <a:buChar char="−"/>
              <a:defRPr sz="1108">
                <a:solidFill>
                  <a:schemeClr val="tx2"/>
                </a:solidFill>
              </a:defRPr>
            </a:lvl4pPr>
            <a:lvl5pPr marL="822082" indent="-165589">
              <a:lnSpc>
                <a:spcPct val="100000"/>
              </a:lnSpc>
              <a:spcBef>
                <a:spcPts val="555"/>
              </a:spcBef>
              <a:spcAft>
                <a:spcPts val="0"/>
              </a:spcAft>
              <a:buFont typeface="Arial" pitchFamily="34" charset="0"/>
              <a:buChar char="•"/>
              <a:defRPr sz="1108">
                <a:solidFill>
                  <a:schemeClr val="tx2"/>
                </a:solidFill>
              </a:defRPr>
            </a:lvl5pPr>
            <a:lvl6pPr marL="830770" indent="-166155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996923" indent="-166155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163078" indent="-166155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329231" indent="-166155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3EACB-0844-7C42-B1E0-A2F19FE96895}" type="datetime1">
              <a:rPr lang="nb-NO" smtClean="0"/>
              <a:t>28.10.2022</a:t>
            </a:fld>
            <a:endParaRPr lang="nb-NO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444542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3EACB-0844-7C42-B1E0-A2F19FE96895}" type="datetime1">
              <a:rPr lang="nb-NO" smtClean="0"/>
              <a:t>28.10.2022</a:t>
            </a:fld>
            <a:endParaRPr lang="nb-NO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408893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3EACB-0844-7C42-B1E0-A2F19FE96895}" type="datetime1">
              <a:rPr lang="nb-NO" smtClean="0"/>
              <a:t>28.10.2022</a:t>
            </a:fld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105588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3EACB-0844-7C42-B1E0-A2F19FE96895}" type="datetime1">
              <a:rPr lang="nb-NO" smtClean="0"/>
              <a:t>28.10.2022</a:t>
            </a:fld>
            <a:endParaRPr lang="nb-NO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659858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3EACB-0844-7C42-B1E0-A2F19FE96895}" type="datetime1">
              <a:rPr lang="nb-NO" smtClean="0"/>
              <a:t>28.10.2022</a:t>
            </a:fld>
            <a:endParaRPr lang="nb-NO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3795496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3EACB-0844-7C42-B1E0-A2F19FE96895}" type="datetime1">
              <a:rPr lang="nb-NO" smtClean="0"/>
              <a:t>28.10.2022</a:t>
            </a:fld>
            <a:endParaRPr lang="nb-NO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152963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3EACB-0844-7C42-B1E0-A2F19FE96895}" type="datetime1">
              <a:rPr lang="nb-NO" smtClean="0"/>
              <a:t>28.10.2022</a:t>
            </a:fld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340787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3EACB-0844-7C42-B1E0-A2F19FE96895}" type="datetime1">
              <a:rPr lang="nb-NO" smtClean="0"/>
              <a:t>28.10.2022</a:t>
            </a:fld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632254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1578C-17DB-42C4-82AB-3EFDE49DBE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6091D9D-A9F5-418C-99A4-DCD43ADD8C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0F5803-C1B5-4769-A97B-52FC677AB7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4A80F9-673C-40A9-89D8-10ABAAB2A856}" type="datetimeFigureOut">
              <a:rPr lang="nb-NO" smtClean="0"/>
              <a:t>28.10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94F7A4-D938-448C-B932-09380FD543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129F70-2942-4252-83D4-5B435C08D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556E-6F42-4B27-8358-BCB41F47E50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8606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E4BC8B-1E32-4A4A-AE49-6AEAFAC6C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E1CE52-0BC3-484A-AA10-CC3B2F5DC6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22C078-3A12-4979-A8D5-DFD4530094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4A80F9-673C-40A9-89D8-10ABAAB2A856}" type="datetimeFigureOut">
              <a:rPr lang="nb-NO" smtClean="0"/>
              <a:t>28.10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E0B002-8C3E-4D96-8170-30E893E88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59ED01-8B4C-43D0-937B-E45970C250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556E-6F42-4B27-8358-BCB41F47E50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344972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2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9473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auto">
          <a:xfrm>
            <a:off x="529167" y="290516"/>
            <a:ext cx="11133667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itle</a:t>
            </a:r>
            <a:r>
              <a:rPr lang="nb-NO" noProof="0" dirty="0"/>
              <a:t> style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5855680" y="6588562"/>
            <a:ext cx="461433" cy="1177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038"/>
              </a:lnSpc>
              <a:defRPr sz="738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25587" y="1152520"/>
            <a:ext cx="11138876" cy="22384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477" b="1" smtClean="0"/>
            </a:lvl1pPr>
          </a:lstStyle>
          <a:p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subtitle</a:t>
            </a:r>
            <a:r>
              <a:rPr lang="nb-NO" noProof="0" dirty="0"/>
              <a:t>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25587" y="1393826"/>
            <a:ext cx="11138876" cy="4924425"/>
          </a:xfrm>
          <a:prstGeom prst="rect">
            <a:avLst/>
          </a:prstGeom>
        </p:spPr>
        <p:txBody>
          <a:bodyPr wrap="square" lIns="0" tIns="0" rIns="0" bIns="0"/>
          <a:lstStyle>
            <a:lvl1pPr marL="167058" indent="-167058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292">
                <a:solidFill>
                  <a:schemeClr val="tx2"/>
                </a:solidFill>
              </a:defRPr>
            </a:lvl1pPr>
            <a:lvl2pPr marL="332651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−"/>
              <a:defRPr sz="1108">
                <a:solidFill>
                  <a:schemeClr val="tx2"/>
                </a:solidFill>
              </a:defRPr>
            </a:lvl2pPr>
            <a:lvl3pPr marL="499709" indent="-158265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108">
                <a:solidFill>
                  <a:schemeClr val="tx2"/>
                </a:solidFill>
              </a:defRPr>
            </a:lvl3pPr>
            <a:lvl4pPr marL="656509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−"/>
              <a:defRPr sz="1108">
                <a:solidFill>
                  <a:schemeClr val="tx2"/>
                </a:solidFill>
              </a:defRPr>
            </a:lvl4pPr>
            <a:lvl5pPr marL="822102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108">
                <a:solidFill>
                  <a:schemeClr val="tx2"/>
                </a:solidFill>
              </a:defRPr>
            </a:lvl5pPr>
            <a:lvl6pPr marL="830790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996948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163106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329264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2519889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B19A9B-F6EF-487E-A25E-C61EBB495A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A41D09-9775-4B07-8B6D-76F6615D54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E79712-3B14-4549-8E60-F43BEEEE8C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4A80F9-673C-40A9-89D8-10ABAAB2A856}" type="datetimeFigureOut">
              <a:rPr lang="nb-NO" smtClean="0"/>
              <a:t>28.10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F6F2A-66FE-4F14-851F-26EC07450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E366D4-7B3C-4181-9439-B20192B5A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556E-6F42-4B27-8358-BCB41F47E50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099756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7FB61E-2074-4BE0-A187-675AEA28A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E600EF-898A-4A6B-AFE0-D3D41A47A1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96407C-A12C-4F54-B44F-1CF2BFE945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33C869-6052-4532-A6C8-65BA2BAD56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4A80F9-673C-40A9-89D8-10ABAAB2A856}" type="datetimeFigureOut">
              <a:rPr lang="nb-NO" smtClean="0"/>
              <a:t>28.10.2022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0FC4E9-FB80-4F3D-91AB-DF802D874F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7BD55F-8BE7-4F01-8A2B-E4034CA0F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556E-6F42-4B27-8358-BCB41F47E50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000000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DD9636-2602-43D6-985E-838B189C51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0B9AED-1D3E-4B8B-AD3B-F44F647A6E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51E63FD-1552-4349-867B-E2B4B092F2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393BE-74C7-47B3-91E4-37DEE3BE0E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1C77A2B-BFE2-4DDB-ADCE-AEB78AAB17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F32E34-B1CB-4AEF-86DF-ACF07CBC62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4A80F9-673C-40A9-89D8-10ABAAB2A856}" type="datetimeFigureOut">
              <a:rPr lang="nb-NO" smtClean="0"/>
              <a:t>28.10.2022</a:t>
            </a:fld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B88E43-27C2-4B6C-9D2F-ED58A66880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A9D8C5D-3EFE-47F4-9569-295ECBC89F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556E-6F42-4B27-8358-BCB41F47E50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150738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7B1845-E5EC-44E8-B1BC-3B73E01215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E5E90C-1077-4D9C-A8E5-EA54D5BB70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4A80F9-673C-40A9-89D8-10ABAAB2A856}" type="datetimeFigureOut">
              <a:rPr lang="nb-NO" smtClean="0"/>
              <a:t>28.10.2022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F37B1A-EE1B-4FB2-92DD-4026B9FF20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C20413-8B8B-4400-8550-15910A5F7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556E-6F42-4B27-8358-BCB41F47E50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64086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E156122-506E-4EB0-838F-7D3816A777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4A80F9-673C-40A9-89D8-10ABAAB2A856}" type="datetimeFigureOut">
              <a:rPr lang="nb-NO" smtClean="0"/>
              <a:t>28.10.2022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A64FF4-D03D-490E-BB33-8AEA2584A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072FE3-84C0-4572-90F4-29E1CFCED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556E-6F42-4B27-8358-BCB41F47E50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138334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2F461E-75FE-4E02-912F-FEB6C561C6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30BAD1-74DD-427D-96B0-2064C99887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3542FA-3070-4371-AC6A-65E033DCA91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FF1663-CB00-4E1C-ADF0-03CA052624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4A80F9-673C-40A9-89D8-10ABAAB2A856}" type="datetimeFigureOut">
              <a:rPr lang="nb-NO" smtClean="0"/>
              <a:t>28.10.2022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CA54AF-F27C-4492-939B-0D02E185C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AA9A40-E30C-48F3-9A21-4C82EC0F12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556E-6F42-4B27-8358-BCB41F47E50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819184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990547-96D0-42EA-96FD-514231DB3A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77E7F2-BC40-44F9-A629-E8C3B9DD00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42A192-4AED-4EB2-8D66-8F70C5A440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1319FA-9DAF-4AA7-A892-72F580C1B9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4A80F9-673C-40A9-89D8-10ABAAB2A856}" type="datetimeFigureOut">
              <a:rPr lang="nb-NO" smtClean="0"/>
              <a:t>28.10.2022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600657-70BD-4FC8-8CA0-01DA46873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BABB08-57A1-4CDC-9F11-AE75A9BD5D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556E-6F42-4B27-8358-BCB41F47E50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61583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6F3AFB-3FB6-4C12-BD94-DF967F3DBF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080467-1306-44AC-A2F3-AE2958F481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69071F-608C-4A80-B176-2BD19446A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4A80F9-673C-40A9-89D8-10ABAAB2A856}" type="datetimeFigureOut">
              <a:rPr lang="nb-NO" smtClean="0"/>
              <a:t>28.10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97FE5-6F85-4EC5-A34E-8611D75EE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9264A6-6836-44BF-9F23-9215CF778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556E-6F42-4B27-8358-BCB41F47E50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291366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537ABF4-48D1-40C0-8426-4DECB62C51B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8AB2542-0D77-4B0A-9AD3-3E6B8544DE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A44131-B6E6-433E-AD66-6E205294B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4A80F9-673C-40A9-89D8-10ABAAB2A856}" type="datetimeFigureOut">
              <a:rPr lang="nb-NO" smtClean="0"/>
              <a:t>28.10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15B5E9-62C4-4C92-AB51-2F29C8CF8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319B91-9970-4E4A-A666-D8BDCFB47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09556E-6F42-4B27-8358-BCB41F47E50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91055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1F223C-8CE5-F140-AED7-9565C084B7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  <a:solidFill>
            <a:schemeClr val="accent2"/>
          </a:solidFill>
        </p:spPr>
        <p:txBody>
          <a:bodyPr anchor="b">
            <a:normAutofit/>
          </a:bodyPr>
          <a:lstStyle>
            <a:lvl1pPr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32D5EA-DD9E-294A-909E-266ECCF86A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2">
            <a:extLst>
              <a:ext uri="{FF2B5EF4-FFF2-40B4-BE49-F238E27FC236}">
                <a16:creationId xmlns:a16="http://schemas.microsoft.com/office/drawing/2014/main" id="{0F7BA062-E083-BF44-BC30-80658F1D85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1137437" cy="365125"/>
          </a:xfrm>
        </p:spPr>
        <p:txBody>
          <a:bodyPr/>
          <a:lstStyle/>
          <a:p>
            <a:fld id="{705584BC-9D03-BB49-B360-01F67D7E86E8}" type="datetime1">
              <a:rPr lang="nb-NO" smtClean="0"/>
              <a:t>28.10.20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09483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7F0C298-39FF-6545-9040-191A62874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3EACB-0844-7C42-B1E0-A2F19FE96895}" type="datetime1">
              <a:rPr lang="nb-NO" smtClean="0"/>
              <a:t>28.10.202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37702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B3B5023-0C53-AE42-B5C1-47EEFBF73472}"/>
              </a:ext>
            </a:extLst>
          </p:cNvPr>
          <p:cNvSpPr/>
          <p:nvPr userDrawn="1"/>
        </p:nvSpPr>
        <p:spPr>
          <a:xfrm>
            <a:off x="-25540" y="-88900"/>
            <a:ext cx="12238707" cy="29671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350" dirty="0"/>
              <a:t> 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218CB7C-4F84-B245-A5EE-3997542BE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3EACB-0844-7C42-B1E0-A2F19FE96895}" type="datetime1">
              <a:rPr lang="nb-NO" smtClean="0"/>
              <a:t>28.10.2022</a:t>
            </a:fld>
            <a:endParaRPr lang="nb-NO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7AB84BE-0E27-FD40-AA28-975F3D92E1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96717"/>
            <a:ext cx="9144000" cy="2387600"/>
          </a:xfrm>
        </p:spPr>
        <p:txBody>
          <a:bodyPr anchor="ctr" anchorCtr="0"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0C51F1D-AB39-D446-B3EA-EF7390F835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956072"/>
            <a:ext cx="9144000" cy="554691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6F9C1FF-D0DA-3548-913C-9FC0983A16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" b="-1981"/>
          <a:stretch/>
        </p:blipFill>
        <p:spPr>
          <a:xfrm>
            <a:off x="5030462" y="3951316"/>
            <a:ext cx="2131077" cy="13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5324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3797" y="1122363"/>
            <a:ext cx="10364411" cy="2387600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3797" y="3602037"/>
            <a:ext cx="10364411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ADAE1-547E-4FD5-9EBD-BD79EFDA524D}" type="datetimeFigureOut">
              <a:rPr lang="nb-NO" smtClean="0"/>
              <a:t>28.10.2022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E0FF05-69CD-4BCE-B352-ECEB0A92E19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085408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3EACB-0844-7C42-B1E0-A2F19FE96895}" type="datetime1">
              <a:rPr lang="nb-NO" smtClean="0"/>
              <a:t>28.10.2022</a:t>
            </a:fld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916029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3EACB-0844-7C42-B1E0-A2F19FE96895}" type="datetime1">
              <a:rPr lang="nb-NO" smtClean="0"/>
              <a:t>28.10.2022</a:t>
            </a:fld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9082881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23EACB-0844-7C42-B1E0-A2F19FE96895}" type="datetime1">
              <a:rPr lang="nb-NO" smtClean="0"/>
              <a:t>28.10.2022</a:t>
            </a:fld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4306305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5345" name="Rectangle 1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4" y="0"/>
          <a:ext cx="19473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85345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0"/>
                        <a:ext cx="19473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855682" y="6588565"/>
            <a:ext cx="461433" cy="1177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039"/>
              </a:lnSpc>
              <a:defRPr sz="739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85350" name="SD_FLD_Title"/>
          <p:cNvSpPr>
            <a:spLocks noGrp="1"/>
          </p:cNvSpPr>
          <p:nvPr>
            <p:ph type="title"/>
          </p:nvPr>
        </p:nvSpPr>
        <p:spPr bwMode="auto">
          <a:xfrm>
            <a:off x="529169" y="300038"/>
            <a:ext cx="11133667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9" name="SD_VAR_Footer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0531016" y="6588565"/>
            <a:ext cx="1083136" cy="1177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r" defTabSz="884306">
              <a:lnSpc>
                <a:spcPts val="1041"/>
              </a:lnSpc>
              <a:defRPr/>
            </a:pPr>
            <a:r>
              <a:rPr lang="nb-NO" sz="739">
                <a:solidFill>
                  <a:srgbClr val="575757"/>
                </a:solidFill>
              </a:rPr>
              <a:t>© 2015 Deloitte AS</a:t>
            </a:r>
            <a:endParaRPr lang="nb-NO" sz="739" dirty="0">
              <a:solidFill>
                <a:srgbClr val="575757"/>
              </a:solidFill>
            </a:endParaRPr>
          </a:p>
        </p:txBody>
      </p:sp>
      <p:sp>
        <p:nvSpPr>
          <p:cNvPr id="6" name="SD_USR_Identity" hidden="1"/>
          <p:cNvSpPr>
            <a:spLocks noChangeArrowheads="1"/>
          </p:cNvSpPr>
          <p:nvPr userDrawn="1"/>
        </p:nvSpPr>
        <p:spPr bwMode="auto">
          <a:xfrm>
            <a:off x="9101701" y="6574521"/>
            <a:ext cx="635283" cy="11772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r" defTabSz="884306">
              <a:lnSpc>
                <a:spcPts val="1041"/>
              </a:lnSpc>
              <a:defRPr/>
            </a:pPr>
            <a:r>
              <a:rPr lang="nb-NO" sz="739">
                <a:solidFill>
                  <a:schemeClr val="tx2"/>
                </a:solidFill>
              </a:rPr>
              <a:t>Deloitte AS</a:t>
            </a:r>
            <a:endParaRPr lang="nb-NO" sz="739" dirty="0">
              <a:solidFill>
                <a:schemeClr val="tx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</p:sldLayoutIdLst>
  <p:hf hdr="0" dt="0"/>
  <p:txStyles>
    <p:titleStyle>
      <a:lvl1pPr algn="l" defTabSz="957239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57239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957239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957239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957239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429745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6pPr>
      <a:lvl7pPr marL="859491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7pPr>
      <a:lvl8pPr marL="1289236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8pPr>
      <a:lvl9pPr marL="1718981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9pPr>
    </p:titleStyle>
    <p:bodyStyle>
      <a:lvl1pPr marL="358766" indent="-358766" algn="l" defTabSz="957239" rtl="0" eaLnBrk="1" fontAlgn="base" hangingPunct="1">
        <a:lnSpc>
          <a:spcPct val="106000"/>
        </a:lnSpc>
        <a:spcBef>
          <a:spcPts val="1351"/>
        </a:spcBef>
        <a:spcAft>
          <a:spcPct val="0"/>
        </a:spcAft>
        <a:buFont typeface="Arial" charset="0"/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90495" indent="-190495" algn="l" defTabSz="957239" rtl="0" eaLnBrk="1" fontAlgn="base" hangingPunct="1">
        <a:lnSpc>
          <a:spcPct val="106000"/>
        </a:lnSpc>
        <a:spcBef>
          <a:spcPts val="1351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73053" indent="-182558" algn="l" defTabSz="957239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65137" indent="-190495" algn="l" defTabSz="957239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744520" indent="-179384" algn="l" defTabSz="957239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841586" indent="-171601" algn="l" defTabSz="859491" rtl="0" eaLnBrk="1" latinLnBrk="0" hangingPunct="1">
        <a:spcBef>
          <a:spcPts val="0"/>
        </a:spcBef>
        <a:spcAft>
          <a:spcPts val="283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4677" indent="-173092" algn="l" defTabSz="859491" rtl="0" eaLnBrk="1" latinLnBrk="0" hangingPunct="1">
        <a:spcBef>
          <a:spcPts val="0"/>
        </a:spcBef>
        <a:spcAft>
          <a:spcPts val="283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7324" indent="-162647" algn="l" defTabSz="859491" rtl="0" eaLnBrk="1" latinLnBrk="0" hangingPunct="1">
        <a:spcBef>
          <a:spcPts val="0"/>
        </a:spcBef>
        <a:spcAft>
          <a:spcPts val="283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8922" indent="-171601" algn="l" defTabSz="859491" rtl="0" eaLnBrk="1" latinLnBrk="0" hangingPunct="1">
        <a:spcBef>
          <a:spcPts val="0"/>
        </a:spcBef>
        <a:spcAft>
          <a:spcPts val="283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949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45" algn="l" defTabSz="85949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491" algn="l" defTabSz="85949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236" algn="l" defTabSz="85949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8981" algn="l" defTabSz="85949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726" algn="l" defTabSz="85949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472" algn="l" defTabSz="85949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215" algn="l" defTabSz="85949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7962" algn="l" defTabSz="85949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23EACB-0844-7C42-B1E0-A2F19FE96895}" type="datetime1">
              <a:rPr lang="nb-NO" smtClean="0"/>
              <a:t>28.10.2022</a:t>
            </a:fld>
            <a:endParaRPr lang="nb-NO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E0729A-64FA-DF4C-AD0F-8872E7517BF2}"/>
              </a:ext>
            </a:extLst>
          </p:cNvPr>
          <p:cNvPicPr>
            <a:picLocks/>
          </p:cNvPicPr>
          <p:nvPr userDrawn="1"/>
        </p:nvPicPr>
        <p:blipFill rotWithShape="1">
          <a:blip r:embed="rId7"/>
          <a:srcRect b="23893"/>
          <a:stretch/>
        </p:blipFill>
        <p:spPr>
          <a:xfrm>
            <a:off x="10723981" y="6356351"/>
            <a:ext cx="787200" cy="3672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9BC4683-E233-B14C-9E59-F2B35C321E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38837" r="1439"/>
          <a:stretch/>
        </p:blipFill>
        <p:spPr>
          <a:xfrm rot="16200000">
            <a:off x="-3021377" y="3109512"/>
            <a:ext cx="6858002" cy="6389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E0B6CA3-8829-C74D-8ADE-991DDF2C757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38201" y="6246150"/>
            <a:ext cx="927100" cy="3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249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66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itchFamily="2" charset="2"/>
        <a:buChar char="v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.Lucida Grande UI Regular"/>
        <a:buChar char="◆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.Lucida Grande UI Regular"/>
        <a:buChar char="◇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◦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0/28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A1E9A0-255F-48AA-8F8C-9F06434D4319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579C03-F419-40AD-88C6-4C80B749BC91}"/>
              </a:ext>
            </a:extLst>
          </p:cNvPr>
          <p:cNvPicPr>
            <a:picLocks/>
          </p:cNvPicPr>
          <p:nvPr userDrawn="1"/>
        </p:nvPicPr>
        <p:blipFill rotWithShape="1">
          <a:blip r:embed="rId13"/>
          <a:srcRect b="23893"/>
          <a:stretch/>
        </p:blipFill>
        <p:spPr>
          <a:xfrm>
            <a:off x="10723981" y="6356351"/>
            <a:ext cx="787200" cy="3672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CD16C00-FD70-40C6-AB47-088EC07981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l="38837" r="1439"/>
          <a:stretch/>
        </p:blipFill>
        <p:spPr>
          <a:xfrm rot="16200000">
            <a:off x="-3021377" y="3109512"/>
            <a:ext cx="6858002" cy="6389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8763BA0-CA94-46F5-9738-5B64BC8E8364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838201" y="6246150"/>
            <a:ext cx="927100" cy="3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963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3" r:id="rId1"/>
    <p:sldLayoutId id="2147484144" r:id="rId2"/>
    <p:sldLayoutId id="2147484145" r:id="rId3"/>
    <p:sldLayoutId id="2147484146" r:id="rId4"/>
    <p:sldLayoutId id="2147484147" r:id="rId5"/>
    <p:sldLayoutId id="2147484148" r:id="rId6"/>
    <p:sldLayoutId id="2147484149" r:id="rId7"/>
    <p:sldLayoutId id="2147484150" r:id="rId8"/>
    <p:sldLayoutId id="2147484151" r:id="rId9"/>
    <p:sldLayoutId id="2147484152" r:id="rId10"/>
    <p:sldLayoutId id="2147484153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DE3532-B5DA-42D5-BADE-A19557E2A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271B8A-BBAE-4F84-9895-9BC634899B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55E99F-E8DD-45BD-B840-1FDB1B8C8F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4A80F9-673C-40A9-89D8-10ABAAB2A856}" type="datetimeFigureOut">
              <a:rPr lang="nb-NO" smtClean="0"/>
              <a:t>28.10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327865-C185-4A1B-98D2-85D627E4D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2720A0-9D7B-47D9-BEC2-DD9D6E4B1A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09556E-6F42-4B27-8358-BCB41F47E50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601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5" r:id="rId1"/>
    <p:sldLayoutId id="2147484156" r:id="rId2"/>
    <p:sldLayoutId id="2147484157" r:id="rId3"/>
    <p:sldLayoutId id="2147484158" r:id="rId4"/>
    <p:sldLayoutId id="2147484159" r:id="rId5"/>
    <p:sldLayoutId id="2147484160" r:id="rId6"/>
    <p:sldLayoutId id="2147484161" r:id="rId7"/>
    <p:sldLayoutId id="2147484162" r:id="rId8"/>
    <p:sldLayoutId id="2147484163" r:id="rId9"/>
    <p:sldLayoutId id="2147484164" r:id="rId10"/>
    <p:sldLayoutId id="214748416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4.png"/><Relationship Id="rId3" Type="http://schemas.openxmlformats.org/officeDocument/2006/relationships/image" Target="../media/image6.JPG"/><Relationship Id="rId7" Type="http://schemas.openxmlformats.org/officeDocument/2006/relationships/image" Target="../media/image9.png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11" Type="http://schemas.openxmlformats.org/officeDocument/2006/relationships/image" Target="../media/image12.png"/><Relationship Id="rId5" Type="http://schemas.microsoft.com/office/2007/relationships/hdphoto" Target="../media/hdphoto1.wdp"/><Relationship Id="rId15" Type="http://schemas.microsoft.com/office/2007/relationships/hdphoto" Target="../media/hdphoto3.wdp"/><Relationship Id="rId10" Type="http://schemas.microsoft.com/office/2007/relationships/hdphoto" Target="../media/hdphoto2.wdp"/><Relationship Id="rId4" Type="http://schemas.openxmlformats.org/officeDocument/2006/relationships/image" Target="../media/image7.png"/><Relationship Id="rId9" Type="http://schemas.openxmlformats.org/officeDocument/2006/relationships/image" Target="../media/image11.png"/><Relationship Id="rId1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3.JP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3.JP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ssholder for innhold 5" descr="Et bilde som inneholder tekst, bygning, scene, by&#10;&#10;Automatisk generert beskrivelse">
            <a:extLst>
              <a:ext uri="{FF2B5EF4-FFF2-40B4-BE49-F238E27FC236}">
                <a16:creationId xmlns:a16="http://schemas.microsoft.com/office/drawing/2014/main" id="{06A36B04-8022-4F44-8806-32CD631A388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t="802" b="14945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  <a:blipFill dpi="0" rotWithShape="1">
            <a:blip r:embed="rId4">
              <a:alphaModFix amt="80000"/>
            </a:blip>
            <a:srcRect/>
            <a:tile tx="0" ty="0" sx="100000" sy="100000" flip="none" algn="tl"/>
          </a:blipFill>
        </p:spPr>
      </p:pic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78BE711-014E-4ED5-8F88-924B9D5639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r>
              <a:rPr lang="en-US" dirty="0">
                <a:solidFill>
                  <a:srgbClr val="FFFFFF"/>
                </a:solidFill>
              </a:rPr>
              <a:t>DATO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C303E790-BEBB-4A2B-AB47-B646FE765FC2}"/>
              </a:ext>
            </a:extLst>
          </p:cNvPr>
          <p:cNvSpPr/>
          <p:nvPr/>
        </p:nvSpPr>
        <p:spPr>
          <a:xfrm>
            <a:off x="1732845" y="745067"/>
            <a:ext cx="8726310" cy="2683933"/>
          </a:xfrm>
          <a:prstGeom prst="rect">
            <a:avLst/>
          </a:prstGeom>
          <a:solidFill>
            <a:srgbClr val="C00000">
              <a:alpha val="7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5400" b="1" dirty="0">
              <a:solidFill>
                <a:schemeClr val="bg1"/>
              </a:solidFill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A66289FC-035F-4921-9BDC-DF9B38D02149}"/>
              </a:ext>
            </a:extLst>
          </p:cNvPr>
          <p:cNvSpPr txBox="1"/>
          <p:nvPr/>
        </p:nvSpPr>
        <p:spPr>
          <a:xfrm>
            <a:off x="1732845" y="1609000"/>
            <a:ext cx="87263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800" b="1" dirty="0">
                <a:solidFill>
                  <a:schemeClr val="bg1"/>
                </a:solidFill>
              </a:rPr>
              <a:t>Alrek helseklynge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70CCE898-86CB-4E03-AF6D-AE65F09B8BA8}"/>
              </a:ext>
            </a:extLst>
          </p:cNvPr>
          <p:cNvSpPr/>
          <p:nvPr/>
        </p:nvSpPr>
        <p:spPr>
          <a:xfrm>
            <a:off x="1732845" y="3429000"/>
            <a:ext cx="8726310" cy="1938347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5400" b="1" dirty="0">
              <a:solidFill>
                <a:schemeClr val="bg1"/>
              </a:solidFill>
            </a:endParaRP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42770DA5-FCEA-4E37-B621-9562485E8DB2}"/>
              </a:ext>
            </a:extLst>
          </p:cNvPr>
          <p:cNvSpPr txBox="1"/>
          <p:nvPr/>
        </p:nvSpPr>
        <p:spPr>
          <a:xfrm>
            <a:off x="1732845" y="3936508"/>
            <a:ext cx="872631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800" b="1" i="1" dirty="0">
                <a:solidFill>
                  <a:schemeClr val="bg1"/>
                </a:solidFill>
              </a:rPr>
              <a:t>Kunnskapsklynge for innovative helse- og omsorgsløsninger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F29D3C49-9940-47E6-BEAE-DFE6593B6696}"/>
              </a:ext>
            </a:extLst>
          </p:cNvPr>
          <p:cNvSpPr/>
          <p:nvPr/>
        </p:nvSpPr>
        <p:spPr>
          <a:xfrm>
            <a:off x="1732845" y="6417111"/>
            <a:ext cx="8726310" cy="365125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b="1" dirty="0">
                <a:solidFill>
                  <a:schemeClr val="bg1"/>
                </a:solidFill>
              </a:rPr>
              <a:t>[navn]</a:t>
            </a:r>
          </a:p>
        </p:txBody>
      </p:sp>
    </p:spTree>
    <p:extLst>
      <p:ext uri="{BB962C8B-B14F-4D97-AF65-F5344CB8AC3E}">
        <p14:creationId xmlns:p14="http://schemas.microsoft.com/office/powerpoint/2010/main" val="17150758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Sylinder 7">
            <a:extLst>
              <a:ext uri="{FF2B5EF4-FFF2-40B4-BE49-F238E27FC236}">
                <a16:creationId xmlns:a16="http://schemas.microsoft.com/office/drawing/2014/main" id="{F4A2C2B4-AD19-4FB3-A386-2D2D8D894335}"/>
              </a:ext>
            </a:extLst>
          </p:cNvPr>
          <p:cNvSpPr txBox="1"/>
          <p:nvPr/>
        </p:nvSpPr>
        <p:spPr>
          <a:xfrm>
            <a:off x="1252658" y="5293080"/>
            <a:ext cx="10372768" cy="80211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Det </a:t>
            </a:r>
            <a:r>
              <a:rPr kumimoji="0" lang="en-US" sz="41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unike</a:t>
            </a:r>
            <a:r>
              <a:rPr kumimoji="0" lang="en-US" sz="4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med Bergen!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882C51-76F9-4F99-997D-31FA6242A8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0126" y="629042"/>
            <a:ext cx="1217216" cy="85953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ight Triangle 20">
            <a:extLst>
              <a:ext uri="{FF2B5EF4-FFF2-40B4-BE49-F238E27FC236}">
                <a16:creationId xmlns:a16="http://schemas.microsoft.com/office/drawing/2014/main" id="{61FFFC16-86E2-4B9A-BC6D-213DC26547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843683" y="635538"/>
            <a:ext cx="680408" cy="849747"/>
          </a:xfrm>
          <a:prstGeom prst="rtTriangl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DD3524E0-C87C-4F38-9FC7-E969C15A79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1114143" y="991883"/>
            <a:ext cx="1371600" cy="2356777"/>
          </a:xfrm>
          <a:custGeom>
            <a:avLst/>
            <a:gdLst>
              <a:gd name="connsiteX0" fmla="*/ 0 w 1371600"/>
              <a:gd name="connsiteY0" fmla="*/ 0 h 2356777"/>
              <a:gd name="connsiteX1" fmla="*/ 0 w 1371600"/>
              <a:gd name="connsiteY1" fmla="*/ 1216152 h 2356777"/>
              <a:gd name="connsiteX2" fmla="*/ 4495 w 1371600"/>
              <a:gd name="connsiteY2" fmla="*/ 1216152 h 2356777"/>
              <a:gd name="connsiteX3" fmla="*/ 4495 w 1371600"/>
              <a:gd name="connsiteY3" fmla="*/ 2356777 h 2356777"/>
              <a:gd name="connsiteX4" fmla="*/ 1367105 w 1371600"/>
              <a:gd name="connsiteY4" fmla="*/ 2356777 h 2356777"/>
              <a:gd name="connsiteX5" fmla="*/ 1367105 w 1371600"/>
              <a:gd name="connsiteY5" fmla="*/ 1216152 h 2356777"/>
              <a:gd name="connsiteX6" fmla="*/ 1371600 w 1371600"/>
              <a:gd name="connsiteY6" fmla="*/ 1216152 h 2356777"/>
              <a:gd name="connsiteX7" fmla="*/ 1367105 w 1371600"/>
              <a:gd name="connsiteY7" fmla="*/ 1212166 h 2356777"/>
              <a:gd name="connsiteX8" fmla="*/ 1367105 w 1371600"/>
              <a:gd name="connsiteY8" fmla="*/ 1210176 h 2356777"/>
              <a:gd name="connsiteX9" fmla="*/ 1364860 w 1371600"/>
              <a:gd name="connsiteY9" fmla="*/ 1210176 h 2356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71600" h="2356777">
                <a:moveTo>
                  <a:pt x="0" y="0"/>
                </a:moveTo>
                <a:lnTo>
                  <a:pt x="0" y="1216152"/>
                </a:lnTo>
                <a:lnTo>
                  <a:pt x="4495" y="1216152"/>
                </a:lnTo>
                <a:lnTo>
                  <a:pt x="4495" y="2356777"/>
                </a:lnTo>
                <a:lnTo>
                  <a:pt x="1367105" y="2356777"/>
                </a:lnTo>
                <a:lnTo>
                  <a:pt x="1367105" y="1216152"/>
                </a:lnTo>
                <a:lnTo>
                  <a:pt x="1371600" y="1216152"/>
                </a:lnTo>
                <a:lnTo>
                  <a:pt x="1367105" y="1212166"/>
                </a:lnTo>
                <a:lnTo>
                  <a:pt x="1367105" y="1210176"/>
                </a:lnTo>
                <a:lnTo>
                  <a:pt x="1364860" y="1210176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F1ED1DF4-DDDE-4464-8ABC-ED1F633CCE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55916" y="1477941"/>
            <a:ext cx="1092260" cy="1371600"/>
          </a:xfrm>
          <a:prstGeom prst="rtTriangle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7E01BF7-4F45-4B6D-82BF-5A5DB30A62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5541" y="2856071"/>
            <a:ext cx="2340073" cy="19110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ight Triangle 28">
            <a:extLst>
              <a:ext uri="{FF2B5EF4-FFF2-40B4-BE49-F238E27FC236}">
                <a16:creationId xmlns:a16="http://schemas.microsoft.com/office/drawing/2014/main" id="{F2FC5C7B-261A-4268-BA85-C29488A8BE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810520" y="2798992"/>
            <a:ext cx="1911096" cy="1980472"/>
          </a:xfrm>
          <a:prstGeom prst="rtTriangle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CB4E315-91F2-4710-B866-B119037ED9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85769" y="673132"/>
            <a:ext cx="1980472" cy="21646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ight Triangle 32">
            <a:extLst>
              <a:ext uri="{FF2B5EF4-FFF2-40B4-BE49-F238E27FC236}">
                <a16:creationId xmlns:a16="http://schemas.microsoft.com/office/drawing/2014/main" id="{569BABC0-B0CC-4E7B-838A-F6E644779E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V="1">
            <a:off x="8642224" y="795153"/>
            <a:ext cx="1399032" cy="1150628"/>
          </a:xfrm>
          <a:prstGeom prst="rtTriangle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CBE1B01-A27C-45C2-ADA4-AA13C3AC1F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61516" y="2850674"/>
            <a:ext cx="2716145" cy="190195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ight Triangle 36">
            <a:extLst>
              <a:ext uri="{FF2B5EF4-FFF2-40B4-BE49-F238E27FC236}">
                <a16:creationId xmlns:a16="http://schemas.microsoft.com/office/drawing/2014/main" id="{BE7E1DAA-43FB-4446-A354-9283DE6686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564669" y="3250084"/>
            <a:ext cx="1911096" cy="1100751"/>
          </a:xfrm>
          <a:prstGeom prst="rtTriangl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6FE5468-759E-4E83-828A-5587C7F588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432111" y="1485831"/>
            <a:ext cx="2537199" cy="1371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B2947B0B-41C8-4976-A278-73F3A20459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5624" y="1837732"/>
            <a:ext cx="2155206" cy="648142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C5BAE29F-C821-4F64-AEEE-FE3B89A9BAB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753" r="4129"/>
          <a:stretch/>
        </p:blipFill>
        <p:spPr>
          <a:xfrm>
            <a:off x="4095177" y="3428999"/>
            <a:ext cx="2610752" cy="888729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99FE99BC-5F7D-47C3-AA1E-16D7DBDBD1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56605" y="2069831"/>
            <a:ext cx="2789854" cy="263688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ight Triangle 42">
            <a:extLst>
              <a:ext uri="{FF2B5EF4-FFF2-40B4-BE49-F238E27FC236}">
                <a16:creationId xmlns:a16="http://schemas.microsoft.com/office/drawing/2014/main" id="{27400BAF-FCE6-4296-8A0E-9B595ADC09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432800" y="4724529"/>
            <a:ext cx="325600" cy="406635"/>
          </a:xfrm>
          <a:prstGeom prst="rtTriangle">
            <a:avLst/>
          </a:prstGeom>
          <a:solidFill>
            <a:srgbClr val="F478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4F57D0-E8E8-40A9-B18F-2E97A07E320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5223EACB-0844-7C42-B1E0-A2F19FE96895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/28/20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139AD65-B6C2-4F59-94CF-989CBE6F8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DE4BCD73-5B8C-4D2A-85BA-800EE0D41A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26206" y="3313748"/>
            <a:ext cx="2680505" cy="920731"/>
          </a:xfrm>
          <a:prstGeom prst="rect">
            <a:avLst/>
          </a:prstGeom>
        </p:spPr>
      </p:pic>
      <p:pic>
        <p:nvPicPr>
          <p:cNvPr id="2" name="Bilde 1">
            <a:extLst>
              <a:ext uri="{FF2B5EF4-FFF2-40B4-BE49-F238E27FC236}">
                <a16:creationId xmlns:a16="http://schemas.microsoft.com/office/drawing/2014/main" id="{C7E87532-2262-411E-88D1-A0A42F7D5BE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48634"/>
          <a:stretch/>
        </p:blipFill>
        <p:spPr>
          <a:xfrm>
            <a:off x="659706" y="3238845"/>
            <a:ext cx="2308039" cy="1161112"/>
          </a:xfrm>
          <a:prstGeom prst="rect">
            <a:avLst/>
          </a:prstGeom>
        </p:spPr>
      </p:pic>
      <p:pic>
        <p:nvPicPr>
          <p:cNvPr id="4098" name="Picture 2" descr="VIS | TENK STORT. VIS DET.">
            <a:extLst>
              <a:ext uri="{FF2B5EF4-FFF2-40B4-BE49-F238E27FC236}">
                <a16:creationId xmlns:a16="http://schemas.microsoft.com/office/drawing/2014/main" id="{B8C86087-8CBB-402F-843C-191F0096A5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9313" y="787148"/>
            <a:ext cx="1966991" cy="1966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ktangel 2">
            <a:extLst>
              <a:ext uri="{FF2B5EF4-FFF2-40B4-BE49-F238E27FC236}">
                <a16:creationId xmlns:a16="http://schemas.microsoft.com/office/drawing/2014/main" id="{2715A8A5-FA2A-4D2F-984E-9F9BC5C58A29}"/>
              </a:ext>
            </a:extLst>
          </p:cNvPr>
          <p:cNvSpPr/>
          <p:nvPr/>
        </p:nvSpPr>
        <p:spPr>
          <a:xfrm>
            <a:off x="2065712" y="6436703"/>
            <a:ext cx="366399" cy="316126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7964D948-75B5-DF06-C4AB-1D3B533A9B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420" y="787148"/>
            <a:ext cx="1106477" cy="406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94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FC6836-34A2-4026-8372-7552C7B6EF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Content Placeholder 4" descr="A picture containing text&#10;&#10;Description automatically generated">
            <a:extLst>
              <a:ext uri="{FF2B5EF4-FFF2-40B4-BE49-F238E27FC236}">
                <a16:creationId xmlns:a16="http://schemas.microsoft.com/office/drawing/2014/main" id="{E4CBC011-81A6-4226-8875-D2E4417B600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3350"/>
            <a:ext cx="12192000" cy="6858000"/>
          </a:xfrm>
        </p:spPr>
      </p:pic>
    </p:spTree>
    <p:extLst>
      <p:ext uri="{BB962C8B-B14F-4D97-AF65-F5344CB8AC3E}">
        <p14:creationId xmlns:p14="http://schemas.microsoft.com/office/powerpoint/2010/main" val="4105208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lassholder for innhold 5" descr="Et bilde som inneholder tekst, bygning, utendørs, rød&#10;&#10;Automatisk generert beskrivelse">
            <a:extLst>
              <a:ext uri="{FF2B5EF4-FFF2-40B4-BE49-F238E27FC236}">
                <a16:creationId xmlns:a16="http://schemas.microsoft.com/office/drawing/2014/main" id="{10A58541-5D7F-4CA5-9BEF-195FADA74B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20000"/>
          </a:blip>
          <a:srcRect l="8877" t="29254" r="1965" b="4"/>
          <a:stretch/>
        </p:blipFill>
        <p:spPr>
          <a:xfrm>
            <a:off x="-99062" y="-107916"/>
            <a:ext cx="12291061" cy="6965915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id="{136AEDEE-F900-4CBD-A7A5-01A820EE2DC3}"/>
              </a:ext>
            </a:extLst>
          </p:cNvPr>
          <p:cNvSpPr/>
          <p:nvPr/>
        </p:nvSpPr>
        <p:spPr>
          <a:xfrm>
            <a:off x="1" y="-56095"/>
            <a:ext cx="12291060" cy="7054263"/>
          </a:xfrm>
          <a:prstGeom prst="rect">
            <a:avLst/>
          </a:prstGeom>
          <a:solidFill>
            <a:schemeClr val="tx2">
              <a:lumMod val="5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4F57D0-E8E8-40A9-B18F-2E97A07E32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3EACB-0844-7C42-B1E0-A2F19FE96895}" type="datetime1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srgbClr val="2F4463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10.2022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srgbClr val="2F4463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139AD65-B6C2-4F59-94CF-989CBE6F8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2F4463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F4463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7BFAAEEB-EF45-4176-A5BD-574805ABC739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4912" y="1743475"/>
            <a:ext cx="5187707" cy="899162"/>
          </a:xfrm>
          <a:prstGeom prst="rect">
            <a:avLst/>
          </a:prstGeom>
        </p:spPr>
      </p:pic>
      <p:pic>
        <p:nvPicPr>
          <p:cNvPr id="13" name="Bilde 12">
            <a:extLst>
              <a:ext uri="{FF2B5EF4-FFF2-40B4-BE49-F238E27FC236}">
                <a16:creationId xmlns:a16="http://schemas.microsoft.com/office/drawing/2014/main" id="{47ACAE5C-F08E-402F-A031-4212702D5F45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</a:blip>
          <a:stretch>
            <a:fillRect/>
          </a:stretch>
        </p:blipFill>
        <p:spPr>
          <a:xfrm>
            <a:off x="514912" y="321913"/>
            <a:ext cx="5187707" cy="902210"/>
          </a:xfrm>
          <a:prstGeom prst="rect">
            <a:avLst/>
          </a:prstGeom>
        </p:spPr>
      </p:pic>
      <p:pic>
        <p:nvPicPr>
          <p:cNvPr id="19" name="Bilde 18">
            <a:extLst>
              <a:ext uri="{FF2B5EF4-FFF2-40B4-BE49-F238E27FC236}">
                <a16:creationId xmlns:a16="http://schemas.microsoft.com/office/drawing/2014/main" id="{E0DC8603-BF00-4357-BA0F-1761BDD7986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50039" y="3471037"/>
            <a:ext cx="2350888" cy="1161339"/>
          </a:xfrm>
          <a:prstGeom prst="rect">
            <a:avLst/>
          </a:prstGeom>
        </p:spPr>
      </p:pic>
      <p:pic>
        <p:nvPicPr>
          <p:cNvPr id="23" name="Bilde 22">
            <a:extLst>
              <a:ext uri="{FF2B5EF4-FFF2-40B4-BE49-F238E27FC236}">
                <a16:creationId xmlns:a16="http://schemas.microsoft.com/office/drawing/2014/main" id="{66269F92-28EC-41AE-B6A1-C3B47F2EBB4C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066490" y="3741374"/>
            <a:ext cx="3131128" cy="812889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BB374146-D2DC-445C-853A-0626285A285F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524508" y="-14657"/>
            <a:ext cx="1626597" cy="2212171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CF276A58-3FB0-45AF-BCB0-C466AED2A253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t="19767" b="24205"/>
          <a:stretch/>
        </p:blipFill>
        <p:spPr>
          <a:xfrm>
            <a:off x="8151105" y="275040"/>
            <a:ext cx="3147638" cy="796806"/>
          </a:xfrm>
          <a:prstGeom prst="rect">
            <a:avLst/>
          </a:prstGeom>
        </p:spPr>
      </p:pic>
      <p:pic>
        <p:nvPicPr>
          <p:cNvPr id="15" name="Bilde 14">
            <a:extLst>
              <a:ext uri="{FF2B5EF4-FFF2-40B4-BE49-F238E27FC236}">
                <a16:creationId xmlns:a16="http://schemas.microsoft.com/office/drawing/2014/main" id="{107B5F50-8986-4968-9279-4A5AD6225B7D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372592" y="1409929"/>
            <a:ext cx="3448050" cy="613407"/>
          </a:xfrm>
          <a:prstGeom prst="rect">
            <a:avLst/>
          </a:prstGeom>
        </p:spPr>
      </p:pic>
      <p:pic>
        <p:nvPicPr>
          <p:cNvPr id="4098" name="Picture 2" descr="Profil • SKIL - Senter for kvalitet i legetjenester">
            <a:extLst>
              <a:ext uri="{FF2B5EF4-FFF2-40B4-BE49-F238E27FC236}">
                <a16:creationId xmlns:a16="http://schemas.microsoft.com/office/drawing/2014/main" id="{84B8F3C4-5580-4B1D-843D-6F53DA9930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5633" y="3894741"/>
            <a:ext cx="1760803" cy="646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3AA3223E-C3B1-43FB-BEB9-AC61A73449D3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harpenSoften amount="50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986599" y="2527666"/>
            <a:ext cx="2771987" cy="796806"/>
          </a:xfrm>
          <a:prstGeom prst="rect">
            <a:avLst/>
          </a:prstGeom>
        </p:spPr>
      </p:pic>
      <p:pic>
        <p:nvPicPr>
          <p:cNvPr id="22" name="Bilde 21">
            <a:extLst>
              <a:ext uri="{FF2B5EF4-FFF2-40B4-BE49-F238E27FC236}">
                <a16:creationId xmlns:a16="http://schemas.microsoft.com/office/drawing/2014/main" id="{CDFBDCB0-E5A7-4AD4-924F-414BCECA1EC9}"/>
              </a:ext>
            </a:extLst>
          </p:cNvPr>
          <p:cNvPicPr>
            <a:picLocks noChangeAspect="1"/>
          </p:cNvPicPr>
          <p:nvPr/>
        </p:nvPicPr>
        <p:blipFill>
          <a:blip r:embed="rId16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845116" y="3857034"/>
            <a:ext cx="3054954" cy="571069"/>
          </a:xfrm>
          <a:prstGeom prst="rect">
            <a:avLst/>
          </a:prstGeom>
        </p:spPr>
      </p:pic>
      <p:sp>
        <p:nvSpPr>
          <p:cNvPr id="28" name="TekstSylinder 27">
            <a:extLst>
              <a:ext uri="{FF2B5EF4-FFF2-40B4-BE49-F238E27FC236}">
                <a16:creationId xmlns:a16="http://schemas.microsoft.com/office/drawing/2014/main" id="{B9D73643-A58A-4265-B62B-4244BF8ADCA4}"/>
              </a:ext>
            </a:extLst>
          </p:cNvPr>
          <p:cNvSpPr txBox="1"/>
          <p:nvPr/>
        </p:nvSpPr>
        <p:spPr>
          <a:xfrm>
            <a:off x="-49531" y="5185742"/>
            <a:ext cx="12291061" cy="923330"/>
          </a:xfrm>
          <a:prstGeom prst="rect">
            <a:avLst/>
          </a:prstGeom>
          <a:solidFill>
            <a:srgbClr val="C00000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Årstadveien 17</a:t>
            </a:r>
          </a:p>
        </p:txBody>
      </p:sp>
    </p:spTree>
    <p:extLst>
      <p:ext uri="{BB962C8B-B14F-4D97-AF65-F5344CB8AC3E}">
        <p14:creationId xmlns:p14="http://schemas.microsoft.com/office/powerpoint/2010/main" val="9316632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78BE711-014E-4ED5-8F88-924B9D5639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5223EACB-0844-7C42-B1E0-A2F19FE96895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/28/20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70CCE898-86CB-4E03-AF6D-AE65F09B8BA8}"/>
              </a:ext>
            </a:extLst>
          </p:cNvPr>
          <p:cNvSpPr/>
          <p:nvPr/>
        </p:nvSpPr>
        <p:spPr>
          <a:xfrm>
            <a:off x="1377244" y="621256"/>
            <a:ext cx="10814756" cy="987744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42770DA5-FCEA-4E37-B621-9562485E8DB2}"/>
              </a:ext>
            </a:extLst>
          </p:cNvPr>
          <p:cNvSpPr txBox="1"/>
          <p:nvPr/>
        </p:nvSpPr>
        <p:spPr>
          <a:xfrm>
            <a:off x="1732845" y="822947"/>
            <a:ext cx="104591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 partnerskap</a:t>
            </a:r>
          </a:p>
        </p:txBody>
      </p:sp>
      <p:pic>
        <p:nvPicPr>
          <p:cNvPr id="9" name="Picture 2" descr="logo sky partnere">
            <a:extLst>
              <a:ext uri="{FF2B5EF4-FFF2-40B4-BE49-F238E27FC236}">
                <a16:creationId xmlns:a16="http://schemas.microsoft.com/office/drawing/2014/main" id="{DD0743C1-3AA0-4F9B-BF58-BB603DA186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5" t="18701" r="4060" b="7918"/>
          <a:stretch/>
        </p:blipFill>
        <p:spPr bwMode="auto">
          <a:xfrm>
            <a:off x="1915126" y="1810691"/>
            <a:ext cx="8657093" cy="4832603"/>
          </a:xfrm>
          <a:prstGeom prst="rect">
            <a:avLst/>
          </a:prstGeom>
          <a:noFill/>
          <a:ln>
            <a:solidFill>
              <a:sysClr val="window" lastClr="FFFFFF">
                <a:lumMod val="50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85595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78BE711-014E-4ED5-8F88-924B9D5639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5223EACB-0844-7C42-B1E0-A2F19FE96895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/28/20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70CCE898-86CB-4E03-AF6D-AE65F09B8BA8}"/>
              </a:ext>
            </a:extLst>
          </p:cNvPr>
          <p:cNvSpPr/>
          <p:nvPr/>
        </p:nvSpPr>
        <p:spPr>
          <a:xfrm>
            <a:off x="1377244" y="621256"/>
            <a:ext cx="10814756" cy="987744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42770DA5-FCEA-4E37-B621-9562485E8DB2}"/>
              </a:ext>
            </a:extLst>
          </p:cNvPr>
          <p:cNvSpPr txBox="1"/>
          <p:nvPr/>
        </p:nvSpPr>
        <p:spPr>
          <a:xfrm>
            <a:off x="1732846" y="822947"/>
            <a:ext cx="31618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 partnerskap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F1E3A0C1-71E2-4088-815F-999E2493B68F}"/>
              </a:ext>
            </a:extLst>
          </p:cNvPr>
          <p:cNvSpPr txBox="1"/>
          <p:nvPr/>
        </p:nvSpPr>
        <p:spPr>
          <a:xfrm>
            <a:off x="4673268" y="839636"/>
            <a:ext cx="67029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3200" b="1" i="1" dirty="0">
                <a:solidFill>
                  <a:srgbClr val="FFFFFF"/>
                </a:solidFill>
                <a:latin typeface="Arial" panose="020B0604020202020204"/>
              </a:rPr>
              <a:t>og en samarbeidsstruktur</a:t>
            </a:r>
            <a:endParaRPr kumimoji="0" lang="nb-NO" sz="32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Picture 2" descr="logo sky partnere">
            <a:extLst>
              <a:ext uri="{FF2B5EF4-FFF2-40B4-BE49-F238E27FC236}">
                <a16:creationId xmlns:a16="http://schemas.microsoft.com/office/drawing/2014/main" id="{6BB8DF49-586D-8A81-3720-DD797C4682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5" t="18701" r="4060" b="7918"/>
          <a:stretch/>
        </p:blipFill>
        <p:spPr bwMode="auto">
          <a:xfrm>
            <a:off x="1915126" y="1810691"/>
            <a:ext cx="8657093" cy="4832603"/>
          </a:xfrm>
          <a:prstGeom prst="rect">
            <a:avLst/>
          </a:prstGeom>
          <a:noFill/>
          <a:ln>
            <a:solidFill>
              <a:sysClr val="window" lastClr="FFFFFF">
                <a:lumMod val="50000"/>
              </a:sys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919C4B4F-8C7E-4BA1-8146-CF27CE617CE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/>
          </a:blip>
          <a:srcRect t="3746" b="5032"/>
          <a:stretch/>
        </p:blipFill>
        <p:spPr>
          <a:xfrm>
            <a:off x="1983916" y="1609000"/>
            <a:ext cx="8485964" cy="5267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37873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7E5005-6F87-4A6D-9D29-A35E1F6B6BA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>
            <a:defPPr>
              <a:defRPr lang="nb-NO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B9673DB-EEAF-42DD-B8C5-A1B4D2ECDE3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>
            <a:defPPr>
              <a:defRPr lang="nb-NO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/>
          </a:p>
        </p:txBody>
      </p:sp>
      <p:pic>
        <p:nvPicPr>
          <p:cNvPr id="5" name="Picture 4" descr="Graphical user interface, text, website&#10;&#10;Description automatically generated">
            <a:extLst>
              <a:ext uri="{FF2B5EF4-FFF2-40B4-BE49-F238E27FC236}">
                <a16:creationId xmlns:a16="http://schemas.microsoft.com/office/drawing/2014/main" id="{51C23A21-D39C-498E-B959-E94E71A309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Bilde 3">
            <a:extLst>
              <a:ext uri="{FF2B5EF4-FFF2-40B4-BE49-F238E27FC236}">
                <a16:creationId xmlns:a16="http://schemas.microsoft.com/office/drawing/2014/main" id="{7DF213F2-281E-B0A4-99E3-FA2DC78E8BE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7582" t="33941" r="6917" b="3290"/>
          <a:stretch/>
        </p:blipFill>
        <p:spPr>
          <a:xfrm>
            <a:off x="10333622" y="148546"/>
            <a:ext cx="1672045" cy="176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9472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539F1-8E9E-4C62-9809-D89065614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nb-NO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/>
          </a:p>
        </p:txBody>
      </p:sp>
      <p:pic>
        <p:nvPicPr>
          <p:cNvPr id="7" name="Content Placeholder 6" descr="A picture containing text, businesscard, screenshot&#10;&#10;Description automatically generated">
            <a:extLst>
              <a:ext uri="{FF2B5EF4-FFF2-40B4-BE49-F238E27FC236}">
                <a16:creationId xmlns:a16="http://schemas.microsoft.com/office/drawing/2014/main" id="{8E9FA3F2-612F-4874-B32A-9D7B8AD0511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</p:spPr>
      </p:pic>
    </p:spTree>
    <p:extLst>
      <p:ext uri="{BB962C8B-B14F-4D97-AF65-F5344CB8AC3E}">
        <p14:creationId xmlns:p14="http://schemas.microsoft.com/office/powerpoint/2010/main" val="27531935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4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78BE711-014E-4ED5-8F88-924B9D5639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5223EACB-0844-7C42-B1E0-A2F19FE96895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/28/20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775739EE-D249-48CF-BF23-6A66A614AF02}"/>
              </a:ext>
            </a:extLst>
          </p:cNvPr>
          <p:cNvSpPr/>
          <p:nvPr/>
        </p:nvSpPr>
        <p:spPr>
          <a:xfrm>
            <a:off x="1377244" y="621256"/>
            <a:ext cx="10814756" cy="987744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F3B030C8-740D-4493-AD9C-C4B7C058BBFF}"/>
              </a:ext>
            </a:extLst>
          </p:cNvPr>
          <p:cNvSpPr txBox="1"/>
          <p:nvPr/>
        </p:nvSpPr>
        <p:spPr>
          <a:xfrm>
            <a:off x="1732845" y="822947"/>
            <a:ext cx="104591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3200" b="1" i="1" dirty="0">
                <a:solidFill>
                  <a:srgbClr val="FFFFFF"/>
                </a:solidFill>
                <a:latin typeface="Arial" panose="020B0604020202020204"/>
              </a:rPr>
              <a:t>Skaper</a:t>
            </a:r>
            <a:endParaRPr kumimoji="0" lang="nb-NO" sz="32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A13E3779-9C72-4ADE-A692-F130E8D1FBE0}"/>
              </a:ext>
            </a:extLst>
          </p:cNvPr>
          <p:cNvSpPr/>
          <p:nvPr/>
        </p:nvSpPr>
        <p:spPr>
          <a:xfrm>
            <a:off x="1377244" y="5167328"/>
            <a:ext cx="10814756" cy="987744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97F9409C-6DE9-437B-BCD0-F619FD501318}"/>
              </a:ext>
            </a:extLst>
          </p:cNvPr>
          <p:cNvSpPr txBox="1"/>
          <p:nvPr/>
        </p:nvSpPr>
        <p:spPr>
          <a:xfrm>
            <a:off x="1377244" y="5368812"/>
            <a:ext cx="104422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jerneområder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BF534F23-8378-1FFE-8778-8EEA43D240A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3591324"/>
              </p:ext>
            </p:extLst>
          </p:nvPr>
        </p:nvGraphicFramePr>
        <p:xfrm>
          <a:off x="1732845" y="75919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2653386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4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78BE711-014E-4ED5-8F88-924B9D5639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5223EACB-0844-7C42-B1E0-A2F19FE96895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/28/20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775739EE-D249-48CF-BF23-6A66A614AF02}"/>
              </a:ext>
            </a:extLst>
          </p:cNvPr>
          <p:cNvSpPr/>
          <p:nvPr/>
        </p:nvSpPr>
        <p:spPr>
          <a:xfrm>
            <a:off x="1377244" y="621256"/>
            <a:ext cx="10814756" cy="987744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F3B030C8-740D-4493-AD9C-C4B7C058BBFF}"/>
              </a:ext>
            </a:extLst>
          </p:cNvPr>
          <p:cNvSpPr txBox="1"/>
          <p:nvPr/>
        </p:nvSpPr>
        <p:spPr>
          <a:xfrm>
            <a:off x="1732845" y="822947"/>
            <a:ext cx="104591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aper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A13E3779-9C72-4ADE-A692-F130E8D1FBE0}"/>
              </a:ext>
            </a:extLst>
          </p:cNvPr>
          <p:cNvSpPr/>
          <p:nvPr/>
        </p:nvSpPr>
        <p:spPr>
          <a:xfrm>
            <a:off x="1377244" y="5167328"/>
            <a:ext cx="10814756" cy="987744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97F9409C-6DE9-437B-BCD0-F619FD501318}"/>
              </a:ext>
            </a:extLst>
          </p:cNvPr>
          <p:cNvSpPr txBox="1"/>
          <p:nvPr/>
        </p:nvSpPr>
        <p:spPr>
          <a:xfrm>
            <a:off x="1377244" y="5368812"/>
            <a:ext cx="104422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 satsingsområder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BF534F23-8378-1FFE-8778-8EEA43D240A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9014058"/>
              </p:ext>
            </p:extLst>
          </p:nvPr>
        </p:nvGraphicFramePr>
        <p:xfrm>
          <a:off x="213556" y="988586"/>
          <a:ext cx="7235862" cy="47991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A9D9DAF6-F8C7-1CC0-4CC0-1648359EB6D6}"/>
              </a:ext>
            </a:extLst>
          </p:cNvPr>
          <p:cNvSpPr txBox="1"/>
          <p:nvPr/>
        </p:nvSpPr>
        <p:spPr>
          <a:xfrm>
            <a:off x="7258051" y="1620843"/>
            <a:ext cx="4137660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400" b="1" dirty="0">
                <a:solidFill>
                  <a:srgbClr val="000000"/>
                </a:solidFill>
              </a:rPr>
              <a:t>Forskn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b-NO" sz="2400" b="1" dirty="0">
              <a:solidFill>
                <a:srgbClr val="000000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400" b="1" dirty="0">
                <a:solidFill>
                  <a:srgbClr val="000000"/>
                </a:solidFill>
              </a:rPr>
              <a:t>Utdann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b-NO" sz="2400" b="1" dirty="0">
              <a:solidFill>
                <a:srgbClr val="000000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400" b="1" dirty="0">
                <a:solidFill>
                  <a:srgbClr val="000000"/>
                </a:solidFill>
              </a:rPr>
              <a:t>Innovasj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b-NO" sz="2400" b="1" dirty="0">
              <a:solidFill>
                <a:srgbClr val="000000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400" b="1" dirty="0">
                <a:solidFill>
                  <a:srgbClr val="000000"/>
                </a:solidFill>
              </a:rPr>
              <a:t>Formidl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b-NO" sz="2400" b="1" dirty="0">
              <a:solidFill>
                <a:srgbClr val="000000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400" b="1" dirty="0">
                <a:solidFill>
                  <a:srgbClr val="000000"/>
                </a:solidFill>
              </a:rPr>
              <a:t>Brukermedvirkn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b-NO" sz="2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2136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6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ktangel 21">
            <a:extLst>
              <a:ext uri="{FF2B5EF4-FFF2-40B4-BE49-F238E27FC236}">
                <a16:creationId xmlns:a16="http://schemas.microsoft.com/office/drawing/2014/main" id="{C414A3B3-8735-4DD7-AB87-682A2CCB2340}"/>
              </a:ext>
            </a:extLst>
          </p:cNvPr>
          <p:cNvSpPr/>
          <p:nvPr/>
        </p:nvSpPr>
        <p:spPr>
          <a:xfrm>
            <a:off x="1377244" y="5167328"/>
            <a:ext cx="10814756" cy="987744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78BE711-014E-4ED5-8F88-924B9D5639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5223EACB-0844-7C42-B1E0-A2F19FE96895}" type="datetime1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/28/20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E9FC26B-B316-41B5-B9EC-674B767AF081}"/>
              </a:ext>
            </a:extLst>
          </p:cNvPr>
          <p:cNvSpPr/>
          <p:nvPr/>
        </p:nvSpPr>
        <p:spPr>
          <a:xfrm>
            <a:off x="1377244" y="621256"/>
            <a:ext cx="10814756" cy="987744"/>
          </a:xfrm>
          <a:prstGeom prst="rect">
            <a:avLst/>
          </a:prstGeom>
          <a:solidFill>
            <a:srgbClr val="FF0000">
              <a:alpha val="7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771D2FE-FF0B-4F94-B333-234A5389D1E6}"/>
              </a:ext>
            </a:extLst>
          </p:cNvPr>
          <p:cNvSpPr txBox="1"/>
          <p:nvPr/>
        </p:nvSpPr>
        <p:spPr>
          <a:xfrm>
            <a:off x="1732845" y="822947"/>
            <a:ext cx="104591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rkemidler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4844D743-1037-402C-BFF1-0FA7F6344F26}"/>
              </a:ext>
            </a:extLst>
          </p:cNvPr>
          <p:cNvGrpSpPr/>
          <p:nvPr/>
        </p:nvGrpSpPr>
        <p:grpSpPr>
          <a:xfrm>
            <a:off x="6194071" y="1745031"/>
            <a:ext cx="2879152" cy="2657935"/>
            <a:chOff x="6292826" y="1810691"/>
            <a:chExt cx="2789902" cy="253189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14" name="Bilde 13">
              <a:extLst>
                <a:ext uri="{FF2B5EF4-FFF2-40B4-BE49-F238E27FC236}">
                  <a16:creationId xmlns:a16="http://schemas.microsoft.com/office/drawing/2014/main" id="{41C8158D-ADBF-421F-B9D5-1D4D1E6A7C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92827" y="1810691"/>
              <a:ext cx="2789901" cy="2172003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  <p:sp>
          <p:nvSpPr>
            <p:cNvPr id="19" name="Rektangel 18">
              <a:extLst>
                <a:ext uri="{FF2B5EF4-FFF2-40B4-BE49-F238E27FC236}">
                  <a16:creationId xmlns:a16="http://schemas.microsoft.com/office/drawing/2014/main" id="{3B978778-C91B-4203-B3A3-337BD155BD19}"/>
                </a:ext>
              </a:extLst>
            </p:cNvPr>
            <p:cNvSpPr/>
            <p:nvPr/>
          </p:nvSpPr>
          <p:spPr>
            <a:xfrm>
              <a:off x="6292826" y="3977456"/>
              <a:ext cx="2789901" cy="365125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dirty="0">
                  <a:solidFill>
                    <a:schemeClr val="bg1"/>
                  </a:solidFill>
                </a:rPr>
                <a:t>Eksterne midler</a:t>
              </a:r>
            </a:p>
          </p:txBody>
        </p:sp>
      </p:grpSp>
      <p:grpSp>
        <p:nvGrpSpPr>
          <p:cNvPr id="27" name="Gruppe 26">
            <a:extLst>
              <a:ext uri="{FF2B5EF4-FFF2-40B4-BE49-F238E27FC236}">
                <a16:creationId xmlns:a16="http://schemas.microsoft.com/office/drawing/2014/main" id="{D4FF8C37-AE0C-4921-862A-3C1EF7B814C6}"/>
              </a:ext>
            </a:extLst>
          </p:cNvPr>
          <p:cNvGrpSpPr/>
          <p:nvPr/>
        </p:nvGrpSpPr>
        <p:grpSpPr>
          <a:xfrm>
            <a:off x="9208889" y="1734770"/>
            <a:ext cx="2879151" cy="2657935"/>
            <a:chOff x="9236460" y="1810691"/>
            <a:chExt cx="2777048" cy="257523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6" name="Bilde 5">
              <a:extLst>
                <a:ext uri="{FF2B5EF4-FFF2-40B4-BE49-F238E27FC236}">
                  <a16:creationId xmlns:a16="http://schemas.microsoft.com/office/drawing/2014/main" id="{49BB008D-C0BE-4628-ABC0-FEF944C1BAB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236460" y="1810691"/>
              <a:ext cx="2777048" cy="2210108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  <p:sp>
          <p:nvSpPr>
            <p:cNvPr id="20" name="Rektangel 19">
              <a:extLst>
                <a:ext uri="{FF2B5EF4-FFF2-40B4-BE49-F238E27FC236}">
                  <a16:creationId xmlns:a16="http://schemas.microsoft.com/office/drawing/2014/main" id="{DC0BB41E-14B5-4AA0-AE9D-E415931F89E0}"/>
                </a:ext>
              </a:extLst>
            </p:cNvPr>
            <p:cNvSpPr/>
            <p:nvPr/>
          </p:nvSpPr>
          <p:spPr>
            <a:xfrm>
              <a:off x="9236460" y="4020798"/>
              <a:ext cx="2777048" cy="365125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dirty="0">
                  <a:solidFill>
                    <a:schemeClr val="bg1"/>
                  </a:solidFill>
                </a:rPr>
                <a:t>Klyngemidler</a:t>
              </a:r>
            </a:p>
          </p:txBody>
        </p:sp>
      </p:grpSp>
      <p:sp>
        <p:nvSpPr>
          <p:cNvPr id="23" name="TekstSylinder 22">
            <a:extLst>
              <a:ext uri="{FF2B5EF4-FFF2-40B4-BE49-F238E27FC236}">
                <a16:creationId xmlns:a16="http://schemas.microsoft.com/office/drawing/2014/main" id="{E2D34E09-8358-4037-9490-DCE2828AA299}"/>
              </a:ext>
            </a:extLst>
          </p:cNvPr>
          <p:cNvSpPr txBox="1"/>
          <p:nvPr/>
        </p:nvSpPr>
        <p:spPr>
          <a:xfrm>
            <a:off x="1377244" y="5368812"/>
            <a:ext cx="104422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3200" b="1" i="1" dirty="0">
                <a:solidFill>
                  <a:srgbClr val="FFFFFF"/>
                </a:solidFill>
                <a:latin typeface="Arial" panose="020B0604020202020204"/>
              </a:rPr>
              <a:t>- viktigste er aktørenes drivkraft!</a:t>
            </a:r>
            <a:endParaRPr kumimoji="0" lang="nb-NO" sz="32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2" name="Gruppe 11">
            <a:extLst>
              <a:ext uri="{FF2B5EF4-FFF2-40B4-BE49-F238E27FC236}">
                <a16:creationId xmlns:a16="http://schemas.microsoft.com/office/drawing/2014/main" id="{0E5125C1-1074-8802-F30D-CBEE5831FF0F}"/>
              </a:ext>
            </a:extLst>
          </p:cNvPr>
          <p:cNvGrpSpPr/>
          <p:nvPr/>
        </p:nvGrpSpPr>
        <p:grpSpPr>
          <a:xfrm>
            <a:off x="1377241" y="1734771"/>
            <a:ext cx="1751439" cy="3306784"/>
            <a:chOff x="1377242" y="1891553"/>
            <a:chExt cx="1580828" cy="3150002"/>
          </a:xfrm>
        </p:grpSpPr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EB2B49D9-B88D-4525-90AE-2F46B3F5AF67}"/>
                </a:ext>
              </a:extLst>
            </p:cNvPr>
            <p:cNvSpPr/>
            <p:nvPr/>
          </p:nvSpPr>
          <p:spPr>
            <a:xfrm>
              <a:off x="1377244" y="4702401"/>
              <a:ext cx="1580826" cy="339154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dirty="0">
                  <a:solidFill>
                    <a:schemeClr val="bg1"/>
                  </a:solidFill>
                </a:rPr>
                <a:t>Møteplasser</a:t>
              </a:r>
            </a:p>
          </p:txBody>
        </p:sp>
        <p:pic>
          <p:nvPicPr>
            <p:cNvPr id="5" name="Bilde 4">
              <a:extLst>
                <a:ext uri="{FF2B5EF4-FFF2-40B4-BE49-F238E27FC236}">
                  <a16:creationId xmlns:a16="http://schemas.microsoft.com/office/drawing/2014/main" id="{B3874090-D3C1-535D-C102-2065109923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006" t="4740" r="4400" b="10289"/>
            <a:stretch/>
          </p:blipFill>
          <p:spPr>
            <a:xfrm>
              <a:off x="1377242" y="1891553"/>
              <a:ext cx="1580826" cy="2810848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  <p:grpSp>
        <p:nvGrpSpPr>
          <p:cNvPr id="8" name="Gruppe 7">
            <a:extLst>
              <a:ext uri="{FF2B5EF4-FFF2-40B4-BE49-F238E27FC236}">
                <a16:creationId xmlns:a16="http://schemas.microsoft.com/office/drawing/2014/main" id="{82B6DC63-C198-6B81-2BFD-B6B9CFAE49BB}"/>
              </a:ext>
            </a:extLst>
          </p:cNvPr>
          <p:cNvGrpSpPr/>
          <p:nvPr/>
        </p:nvGrpSpPr>
        <p:grpSpPr>
          <a:xfrm>
            <a:off x="3325362" y="1747020"/>
            <a:ext cx="2672025" cy="2650924"/>
            <a:chOff x="3325362" y="1747020"/>
            <a:chExt cx="2672025" cy="265092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116CC934-E3AC-4F10-B4EC-1F6B51E31730}"/>
                </a:ext>
              </a:extLst>
            </p:cNvPr>
            <p:cNvSpPr/>
            <p:nvPr/>
          </p:nvSpPr>
          <p:spPr>
            <a:xfrm>
              <a:off x="3325363" y="4014680"/>
              <a:ext cx="2672024" cy="383264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dirty="0">
                  <a:solidFill>
                    <a:schemeClr val="bg1"/>
                  </a:solidFill>
                </a:rPr>
                <a:t>Synlighet</a:t>
              </a:r>
            </a:p>
          </p:txBody>
        </p:sp>
        <p:pic>
          <p:nvPicPr>
            <p:cNvPr id="3" name="Bilde 2">
              <a:extLst>
                <a:ext uri="{FF2B5EF4-FFF2-40B4-BE49-F238E27FC236}">
                  <a16:creationId xmlns:a16="http://schemas.microsoft.com/office/drawing/2014/main" id="{0F12FB37-205A-99CD-CDD8-14749478C94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5362" y="1747020"/>
              <a:ext cx="2672025" cy="2262383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9007796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9fTc4JHkCQnNNj5c_n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9fTc4JHkCQnNNj5c_n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heme/theme1.xml><?xml version="1.0" encoding="utf-8"?>
<a:theme xmlns:a="http://schemas.openxmlformats.org/drawingml/2006/main" name="Deloitte_AS_mal">
  <a:themeElements>
    <a:clrScheme name="Theme1">
      <a:dk1>
        <a:srgbClr val="000000"/>
      </a:dk1>
      <a:lt1>
        <a:srgbClr val="FFFFFF"/>
      </a:lt1>
      <a:dk2>
        <a:srgbClr val="575757"/>
      </a:dk2>
      <a:lt2>
        <a:srgbClr val="FFFFFF"/>
      </a:lt2>
      <a:accent1>
        <a:srgbClr val="00A1DE"/>
      </a:accent1>
      <a:accent2>
        <a:srgbClr val="81BC00"/>
      </a:accent2>
      <a:accent3>
        <a:srgbClr val="72C7E7"/>
      </a:accent3>
      <a:accent4>
        <a:srgbClr val="3C8A2E"/>
      </a:accent4>
      <a:accent5>
        <a:srgbClr val="002776"/>
      </a:accent5>
      <a:accent6>
        <a:srgbClr val="BDD203"/>
      </a:accent6>
      <a:hlink>
        <a:srgbClr val="00A1DE"/>
      </a:hlink>
      <a:folHlink>
        <a:srgbClr val="72C7E7"/>
      </a:folHlink>
    </a:clrScheme>
    <a:fontScheme name="Theme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heme1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.potx" id="{9949079A-5AAF-4CC0-BFC1-C184F4261AF0}" vid="{F532B14A-DEC9-4D64-800A-385F07CC9555}"/>
    </a:ext>
  </a:extLst>
</a:theme>
</file>

<file path=ppt/theme/theme2.xml><?xml version="1.0" encoding="utf-8"?>
<a:theme xmlns:a="http://schemas.openxmlformats.org/drawingml/2006/main" name="Office Theme">
  <a:themeElements>
    <a:clrScheme name="Alrek Helseklynge">
      <a:dk1>
        <a:srgbClr val="2F4463"/>
      </a:dk1>
      <a:lt1>
        <a:srgbClr val="FFFFFF"/>
      </a:lt1>
      <a:dk2>
        <a:srgbClr val="2F4463"/>
      </a:dk2>
      <a:lt2>
        <a:srgbClr val="FFFFFF"/>
      </a:lt2>
      <a:accent1>
        <a:srgbClr val="D8B956"/>
      </a:accent1>
      <a:accent2>
        <a:srgbClr val="F15C59"/>
      </a:accent2>
      <a:accent3>
        <a:srgbClr val="79965F"/>
      </a:accent3>
      <a:accent4>
        <a:srgbClr val="FFFFFF"/>
      </a:accent4>
      <a:accent5>
        <a:srgbClr val="4F5800"/>
      </a:accent5>
      <a:accent6>
        <a:srgbClr val="F58D8A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E7788430CAEDD438A0340DEC364A188" ma:contentTypeVersion="2" ma:contentTypeDescription="Opprett et nytt dokument." ma:contentTypeScope="" ma:versionID="2b5cf99cc60a9e9a96aec2e4fd0ca570">
  <xsd:schema xmlns:xsd="http://www.w3.org/2001/XMLSchema" xmlns:xs="http://www.w3.org/2001/XMLSchema" xmlns:p="http://schemas.microsoft.com/office/2006/metadata/properties" xmlns:ns2="2ddc8a5a-ed7a-4bdd-b54f-9e0babde3b96" targetNamespace="http://schemas.microsoft.com/office/2006/metadata/properties" ma:root="true" ma:fieldsID="c0f6d87d468745faaa9e5bd5990f2a32" ns2:_="">
    <xsd:import namespace="2ddc8a5a-ed7a-4bdd-b54f-9e0babde3b9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dc8a5a-ed7a-4bdd-b54f-9e0babde3b9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D602A5E-8400-45B7-8A35-8A9F68AD438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ddc8a5a-ed7a-4bdd-b54f-9e0babde3b9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F99C5EF-45FA-4D26-AC85-3BD75746CCE6}">
  <ds:schemaRefs>
    <ds:schemaRef ds:uri="http://purl.org/dc/dcmitype/"/>
    <ds:schemaRef ds:uri="http://www.w3.org/XML/1998/namespace"/>
    <ds:schemaRef ds:uri="http://schemas.microsoft.com/office/2006/documentManagement/types"/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2ddc8a5a-ed7a-4bdd-b54f-9e0babde3b96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FA001FE1-05DD-4B0F-B304-481B70336C3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217</TotalTime>
  <Words>712</Words>
  <Application>Microsoft Office PowerPoint</Application>
  <PresentationFormat>Widescreen</PresentationFormat>
  <Paragraphs>96</Paragraphs>
  <Slides>11</Slides>
  <Notes>10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4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1</vt:i4>
      </vt:variant>
    </vt:vector>
  </HeadingPairs>
  <TitlesOfParts>
    <vt:vector size="23" baseType="lpstr">
      <vt:lpstr>.Lucida Grande UI Regular</vt:lpstr>
      <vt:lpstr>Arial</vt:lpstr>
      <vt:lpstr>Calibri</vt:lpstr>
      <vt:lpstr>Calibri Light</vt:lpstr>
      <vt:lpstr>System Font Regular</vt:lpstr>
      <vt:lpstr>Wingdings</vt:lpstr>
      <vt:lpstr>Wingdings 2</vt:lpstr>
      <vt:lpstr>Deloitte_AS_mal</vt:lpstr>
      <vt:lpstr>Office Theme</vt:lpstr>
      <vt:lpstr>1_Office Theme</vt:lpstr>
      <vt:lpstr>2_Office Theme</vt:lpstr>
      <vt:lpstr>think-cell Slide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jun Ahluwalia</dc:creator>
  <cp:lastModifiedBy>Berit Angelskår</cp:lastModifiedBy>
  <cp:revision>279</cp:revision>
  <dcterms:created xsi:type="dcterms:W3CDTF">2019-01-03T09:10:42Z</dcterms:created>
  <dcterms:modified xsi:type="dcterms:W3CDTF">2022-10-28T12:54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E7788430CAEDD438A0340DEC364A188</vt:lpwstr>
  </property>
</Properties>
</file>